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64"/>
  </p:notesMasterIdLst>
  <p:sldIdLst>
    <p:sldId id="256" r:id="rId5"/>
    <p:sldId id="784" r:id="rId6"/>
    <p:sldId id="785" r:id="rId7"/>
    <p:sldId id="262" r:id="rId8"/>
    <p:sldId id="729" r:id="rId9"/>
    <p:sldId id="730" r:id="rId10"/>
    <p:sldId id="794" r:id="rId11"/>
    <p:sldId id="796" r:id="rId12"/>
    <p:sldId id="797" r:id="rId13"/>
    <p:sldId id="798" r:id="rId14"/>
    <p:sldId id="728" r:id="rId15"/>
    <p:sldId id="260" r:id="rId16"/>
    <p:sldId id="731" r:id="rId17"/>
    <p:sldId id="732" r:id="rId18"/>
    <p:sldId id="734" r:id="rId19"/>
    <p:sldId id="735" r:id="rId20"/>
    <p:sldId id="736" r:id="rId21"/>
    <p:sldId id="737" r:id="rId22"/>
    <p:sldId id="738" r:id="rId23"/>
    <p:sldId id="790" r:id="rId24"/>
    <p:sldId id="742" r:id="rId25"/>
    <p:sldId id="791" r:id="rId26"/>
    <p:sldId id="792" r:id="rId27"/>
    <p:sldId id="793" r:id="rId28"/>
    <p:sldId id="739" r:id="rId29"/>
    <p:sldId id="740" r:id="rId30"/>
    <p:sldId id="741" r:id="rId31"/>
    <p:sldId id="744" r:id="rId32"/>
    <p:sldId id="795" r:id="rId33"/>
    <p:sldId id="743" r:id="rId34"/>
    <p:sldId id="746" r:id="rId35"/>
    <p:sldId id="747" r:id="rId36"/>
    <p:sldId id="748" r:id="rId37"/>
    <p:sldId id="749" r:id="rId38"/>
    <p:sldId id="750" r:id="rId39"/>
    <p:sldId id="752" r:id="rId40"/>
    <p:sldId id="753" r:id="rId41"/>
    <p:sldId id="754" r:id="rId42"/>
    <p:sldId id="751" r:id="rId43"/>
    <p:sldId id="755" r:id="rId44"/>
    <p:sldId id="756" r:id="rId45"/>
    <p:sldId id="758" r:id="rId46"/>
    <p:sldId id="757" r:id="rId47"/>
    <p:sldId id="760" r:id="rId48"/>
    <p:sldId id="788" r:id="rId49"/>
    <p:sldId id="759" r:id="rId50"/>
    <p:sldId id="761" r:id="rId51"/>
    <p:sldId id="799" r:id="rId52"/>
    <p:sldId id="762" r:id="rId53"/>
    <p:sldId id="764" r:id="rId54"/>
    <p:sldId id="765" r:id="rId55"/>
    <p:sldId id="787" r:id="rId56"/>
    <p:sldId id="766" r:id="rId57"/>
    <p:sldId id="786" r:id="rId58"/>
    <p:sldId id="745" r:id="rId59"/>
    <p:sldId id="258" r:id="rId60"/>
    <p:sldId id="789" r:id="rId61"/>
    <p:sldId id="783" r:id="rId62"/>
    <p:sldId id="767" r:id="rId63"/>
  </p:sldIdLst>
  <p:sldSz cx="12192000" cy="6858000"/>
  <p:notesSz cx="6858000" cy="9144000"/>
  <p:custDataLst>
    <p:tags r:id="rId6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 section" id="{CADBE52A-1DFD-4DD8-9EE2-409CF831B10D}">
          <p14:sldIdLst>
            <p14:sldId id="256"/>
            <p14:sldId id="784"/>
            <p14:sldId id="785"/>
          </p14:sldIdLst>
        </p14:section>
        <p14:section name="Why are we here?" id="{063D4B7C-533E-4DDA-A354-FD34D8EDD54A}">
          <p14:sldIdLst>
            <p14:sldId id="262"/>
            <p14:sldId id="729"/>
            <p14:sldId id="730"/>
            <p14:sldId id="794"/>
            <p14:sldId id="796"/>
            <p14:sldId id="797"/>
            <p14:sldId id="798"/>
          </p14:sldIdLst>
        </p14:section>
        <p14:section name="What is Exchange Hybrid" id="{D327861C-DA2E-4A2C-A401-0BBCC44A29B3}">
          <p14:sldIdLst>
            <p14:sldId id="728"/>
            <p14:sldId id="260"/>
            <p14:sldId id="731"/>
            <p14:sldId id="732"/>
            <p14:sldId id="734"/>
            <p14:sldId id="735"/>
            <p14:sldId id="736"/>
            <p14:sldId id="737"/>
            <p14:sldId id="738"/>
            <p14:sldId id="790"/>
            <p14:sldId id="742"/>
            <p14:sldId id="791"/>
            <p14:sldId id="792"/>
            <p14:sldId id="793"/>
            <p14:sldId id="739"/>
          </p14:sldIdLst>
        </p14:section>
        <p14:section name="Why do you need Exchange Hybrid" id="{C3257F9C-08F7-4B9E-9B0B-E36F46BB6E24}">
          <p14:sldIdLst>
            <p14:sldId id="740"/>
            <p14:sldId id="741"/>
            <p14:sldId id="744"/>
            <p14:sldId id="795"/>
            <p14:sldId id="743"/>
          </p14:sldIdLst>
        </p14:section>
        <p14:section name="How to implement Exchange Hybrid?" id="{7828EF09-1427-4D22-B64A-10DA6E58992B}">
          <p14:sldIdLst>
            <p14:sldId id="746"/>
            <p14:sldId id="747"/>
            <p14:sldId id="748"/>
            <p14:sldId id="749"/>
            <p14:sldId id="750"/>
            <p14:sldId id="752"/>
            <p14:sldId id="753"/>
            <p14:sldId id="754"/>
            <p14:sldId id="751"/>
            <p14:sldId id="755"/>
            <p14:sldId id="756"/>
            <p14:sldId id="758"/>
            <p14:sldId id="757"/>
            <p14:sldId id="760"/>
            <p14:sldId id="788"/>
            <p14:sldId id="759"/>
            <p14:sldId id="761"/>
            <p14:sldId id="799"/>
            <p14:sldId id="762"/>
          </p14:sldIdLst>
        </p14:section>
        <p14:section name="Microsoft Teams" id="{6FDB550B-D6D7-4F17-B797-5514A4895CCD}">
          <p14:sldIdLst>
            <p14:sldId id="764"/>
            <p14:sldId id="765"/>
            <p14:sldId id="787"/>
            <p14:sldId id="766"/>
            <p14:sldId id="786"/>
            <p14:sldId id="745"/>
          </p14:sldIdLst>
        </p14:section>
        <p14:section name="Final" id="{2BCE50E6-70AC-4746-B601-5E1C5F48D725}">
          <p14:sldIdLst>
            <p14:sldId id="258"/>
            <p14:sldId id="789"/>
            <p14:sldId id="783"/>
          </p14:sldIdLst>
        </p14:section>
        <p14:section name="Ressources" id="{249CCE67-1CEE-4360-AD1F-5B4ACD1F8A18}">
          <p14:sldIdLst>
            <p14:sldId id="767"/>
          </p14:sldIdLst>
        </p14:section>
        <p14:section name="Backup" id="{64398E80-A30E-4A25-B3F5-C1B30E646D2D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C6FE5FE-931F-4020-9063-3CD210EE2AD2}" v="1002" dt="2022-09-10T16:45:39.82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7" autoAdjust="0"/>
    <p:restoredTop sz="86011" autoAdjust="0"/>
  </p:normalViewPr>
  <p:slideViewPr>
    <p:cSldViewPr snapToGrid="0">
      <p:cViewPr varScale="1">
        <p:scale>
          <a:sx n="85" d="100"/>
          <a:sy n="85" d="100"/>
        </p:scale>
        <p:origin x="1104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theme" Target="theme/theme1.xml"/><Relationship Id="rId7" Type="http://schemas.openxmlformats.org/officeDocument/2006/relationships/slide" Target="slides/slide3.xml"/><Relationship Id="rId71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presProps" Target="presProps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notesMaster" Target="notesMasters/notesMaster1.xml"/><Relationship Id="rId69" Type="http://schemas.openxmlformats.org/officeDocument/2006/relationships/tableStyles" Target="tableStyle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viewProps" Target="viewProps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omas Stensitzki" userId="75cafe6b-2f2a-469b-85c4-eec3b9c972ba" providerId="ADAL" clId="{9C6FE5FE-931F-4020-9063-3CD210EE2AD2}"/>
    <pc:docChg chg="undo custSel addSld delSld modSld sldOrd addSection delSection modSection replTag">
      <pc:chgData name="Thomas Stensitzki" userId="75cafe6b-2f2a-469b-85c4-eec3b9c972ba" providerId="ADAL" clId="{9C6FE5FE-931F-4020-9063-3CD210EE2AD2}" dt="2022-11-02T13:30:13.072" v="3915" actId="1076"/>
      <pc:docMkLst>
        <pc:docMk/>
      </pc:docMkLst>
      <pc:sldChg chg="modSp mod modTransition modNotes">
        <pc:chgData name="Thomas Stensitzki" userId="75cafe6b-2f2a-469b-85c4-eec3b9c972ba" providerId="ADAL" clId="{9C6FE5FE-931F-4020-9063-3CD210EE2AD2}" dt="2022-09-10T14:49:57.920" v="1093" actId="5793"/>
        <pc:sldMkLst>
          <pc:docMk/>
          <pc:sldMk cId="1689781462" sldId="256"/>
        </pc:sldMkLst>
        <pc:spChg chg="mod">
          <ac:chgData name="Thomas Stensitzki" userId="75cafe6b-2f2a-469b-85c4-eec3b9c972ba" providerId="ADAL" clId="{9C6FE5FE-931F-4020-9063-3CD210EE2AD2}" dt="2022-09-10T14:49:57.920" v="1093" actId="5793"/>
          <ac:spMkLst>
            <pc:docMk/>
            <pc:sldMk cId="1689781462" sldId="256"/>
            <ac:spMk id="4" creationId="{474B7DD3-7E08-C722-349F-5DB12B911FF1}"/>
          </ac:spMkLst>
        </pc:spChg>
        <pc:spChg chg="mod">
          <ac:chgData name="Thomas Stensitzki" userId="75cafe6b-2f2a-469b-85c4-eec3b9c972ba" providerId="ADAL" clId="{9C6FE5FE-931F-4020-9063-3CD210EE2AD2}" dt="2022-09-02T08:53:07.088" v="274" actId="790"/>
          <ac:spMkLst>
            <pc:docMk/>
            <pc:sldMk cId="1689781462" sldId="256"/>
            <ac:spMk id="5" creationId="{BEB964C0-3D03-50FC-69DC-4E702FC659DA}"/>
          </ac:spMkLst>
        </pc:spChg>
      </pc:sldChg>
      <pc:sldChg chg="modSp mod modTransition modNotes">
        <pc:chgData name="Thomas Stensitzki" userId="75cafe6b-2f2a-469b-85c4-eec3b9c972ba" providerId="ADAL" clId="{9C6FE5FE-931F-4020-9063-3CD210EE2AD2}" dt="2022-09-09T18:02:52.448" v="960"/>
        <pc:sldMkLst>
          <pc:docMk/>
          <pc:sldMk cId="2580339671" sldId="258"/>
        </pc:sldMkLst>
        <pc:spChg chg="mod">
          <ac:chgData name="Thomas Stensitzki" userId="75cafe6b-2f2a-469b-85c4-eec3b9c972ba" providerId="ADAL" clId="{9C6FE5FE-931F-4020-9063-3CD210EE2AD2}" dt="2022-09-02T08:53:07.188" v="312" actId="790"/>
          <ac:spMkLst>
            <pc:docMk/>
            <pc:sldMk cId="2580339671" sldId="258"/>
            <ac:spMk id="2" creationId="{EF17A948-9740-1BCB-7903-BCE7EACD3CF4}"/>
          </ac:spMkLst>
        </pc:spChg>
        <pc:spChg chg="mod">
          <ac:chgData name="Thomas Stensitzki" userId="75cafe6b-2f2a-469b-85c4-eec3b9c972ba" providerId="ADAL" clId="{9C6FE5FE-931F-4020-9063-3CD210EE2AD2}" dt="2022-09-02T08:53:07.189" v="313" actId="790"/>
          <ac:spMkLst>
            <pc:docMk/>
            <pc:sldMk cId="2580339671" sldId="258"/>
            <ac:spMk id="3" creationId="{CB466159-2CFF-ABA5-F980-D3ED5FE62F89}"/>
          </ac:spMkLst>
        </pc:spChg>
      </pc:sldChg>
      <pc:sldChg chg="modSp del mod ord modNotes">
        <pc:chgData name="Thomas Stensitzki" userId="75cafe6b-2f2a-469b-85c4-eec3b9c972ba" providerId="ADAL" clId="{9C6FE5FE-931F-4020-9063-3CD210EE2AD2}" dt="2022-09-09T17:58:57.719" v="934" actId="47"/>
        <pc:sldMkLst>
          <pc:docMk/>
          <pc:sldMk cId="2621299065" sldId="259"/>
        </pc:sldMkLst>
        <pc:spChg chg="mod">
          <ac:chgData name="Thomas Stensitzki" userId="75cafe6b-2f2a-469b-85c4-eec3b9c972ba" providerId="ADAL" clId="{9C6FE5FE-931F-4020-9063-3CD210EE2AD2}" dt="2022-09-02T08:53:07.122" v="284" actId="790"/>
          <ac:spMkLst>
            <pc:docMk/>
            <pc:sldMk cId="2621299065" sldId="259"/>
            <ac:spMk id="2" creationId="{A21357CB-9306-DFF7-B7FE-585831EF72BA}"/>
          </ac:spMkLst>
        </pc:spChg>
        <pc:spChg chg="mod">
          <ac:chgData name="Thomas Stensitzki" userId="75cafe6b-2f2a-469b-85c4-eec3b9c972ba" providerId="ADAL" clId="{9C6FE5FE-931F-4020-9063-3CD210EE2AD2}" dt="2022-09-02T08:53:07.125" v="285" actId="790"/>
          <ac:spMkLst>
            <pc:docMk/>
            <pc:sldMk cId="2621299065" sldId="259"/>
            <ac:spMk id="7" creationId="{C15FA463-0CBB-20FF-CC44-8DAF8246E701}"/>
          </ac:spMkLst>
        </pc:spChg>
      </pc:sldChg>
      <pc:sldChg chg="addSp modSp mod ord modTransition modNotes">
        <pc:chgData name="Thomas Stensitzki" userId="75cafe6b-2f2a-469b-85c4-eec3b9c972ba" providerId="ADAL" clId="{9C6FE5FE-931F-4020-9063-3CD210EE2AD2}" dt="2022-09-10T16:15:39.567" v="2705"/>
        <pc:sldMkLst>
          <pc:docMk/>
          <pc:sldMk cId="2073330272" sldId="260"/>
        </pc:sldMkLst>
        <pc:spChg chg="mod">
          <ac:chgData name="Thomas Stensitzki" userId="75cafe6b-2f2a-469b-85c4-eec3b9c972ba" providerId="ADAL" clId="{9C6FE5FE-931F-4020-9063-3CD210EE2AD2}" dt="2022-09-02T08:53:07.161" v="299" actId="790"/>
          <ac:spMkLst>
            <pc:docMk/>
            <pc:sldMk cId="2073330272" sldId="260"/>
            <ac:spMk id="4" creationId="{4D946DD7-E8C4-5DAD-2176-19BB45DF0F23}"/>
          </ac:spMkLst>
        </pc:spChg>
        <pc:spChg chg="mod">
          <ac:chgData name="Thomas Stensitzki" userId="75cafe6b-2f2a-469b-85c4-eec3b9c972ba" providerId="ADAL" clId="{9C6FE5FE-931F-4020-9063-3CD210EE2AD2}" dt="2022-09-02T08:53:07.162" v="300" actId="790"/>
          <ac:spMkLst>
            <pc:docMk/>
            <pc:sldMk cId="2073330272" sldId="260"/>
            <ac:spMk id="6" creationId="{0668D2DB-5C37-E209-10FE-B1AFD0CEC11B}"/>
          </ac:spMkLst>
        </pc:spChg>
        <pc:spChg chg="add mod">
          <ac:chgData name="Thomas Stensitzki" userId="75cafe6b-2f2a-469b-85c4-eec3b9c972ba" providerId="ADAL" clId="{9C6FE5FE-931F-4020-9063-3CD210EE2AD2}" dt="2022-09-02T08:53:07.164" v="301" actId="790"/>
          <ac:spMkLst>
            <pc:docMk/>
            <pc:sldMk cId="2073330272" sldId="260"/>
            <ac:spMk id="9" creationId="{32022743-296D-C66D-B326-68838D412186}"/>
          </ac:spMkLst>
        </pc:spChg>
      </pc:sldChg>
      <pc:sldChg chg="modSp del mod ord modTransition modNotes">
        <pc:chgData name="Thomas Stensitzki" userId="75cafe6b-2f2a-469b-85c4-eec3b9c972ba" providerId="ADAL" clId="{9C6FE5FE-931F-4020-9063-3CD210EE2AD2}" dt="2022-09-10T16:46:26.594" v="3913" actId="47"/>
        <pc:sldMkLst>
          <pc:docMk/>
          <pc:sldMk cId="3130226458" sldId="261"/>
        </pc:sldMkLst>
        <pc:spChg chg="mod">
          <ac:chgData name="Thomas Stensitzki" userId="75cafe6b-2f2a-469b-85c4-eec3b9c972ba" providerId="ADAL" clId="{9C6FE5FE-931F-4020-9063-3CD210EE2AD2}" dt="2022-09-02T08:53:07.198" v="316" actId="790"/>
          <ac:spMkLst>
            <pc:docMk/>
            <pc:sldMk cId="3130226458" sldId="261"/>
            <ac:spMk id="2" creationId="{A21357CB-9306-DFF7-B7FE-585831EF72BA}"/>
          </ac:spMkLst>
        </pc:spChg>
      </pc:sldChg>
      <pc:sldChg chg="modSp mod ord modTransition modNotes">
        <pc:chgData name="Thomas Stensitzki" userId="75cafe6b-2f2a-469b-85c4-eec3b9c972ba" providerId="ADAL" clId="{9C6FE5FE-931F-4020-9063-3CD210EE2AD2}" dt="2022-09-10T15:02:39.105" v="1137" actId="20577"/>
        <pc:sldMkLst>
          <pc:docMk/>
          <pc:sldMk cId="1433279249" sldId="262"/>
        </pc:sldMkLst>
        <pc:spChg chg="mod">
          <ac:chgData name="Thomas Stensitzki" userId="75cafe6b-2f2a-469b-85c4-eec3b9c972ba" providerId="ADAL" clId="{9C6FE5FE-931F-4020-9063-3CD210EE2AD2}" dt="2022-09-10T14:50:47.949" v="1097" actId="20577"/>
          <ac:spMkLst>
            <pc:docMk/>
            <pc:sldMk cId="1433279249" sldId="262"/>
            <ac:spMk id="2" creationId="{7262A795-AAF1-319D-DC9F-6228E231F250}"/>
          </ac:spMkLst>
        </pc:spChg>
        <pc:spChg chg="mod">
          <ac:chgData name="Thomas Stensitzki" userId="75cafe6b-2f2a-469b-85c4-eec3b9c972ba" providerId="ADAL" clId="{9C6FE5FE-931F-4020-9063-3CD210EE2AD2}" dt="2022-09-10T15:02:39.105" v="1137" actId="20577"/>
          <ac:spMkLst>
            <pc:docMk/>
            <pc:sldMk cId="1433279249" sldId="262"/>
            <ac:spMk id="3" creationId="{E787C40D-FB3A-794D-722F-A25C53C119FE}"/>
          </ac:spMkLst>
        </pc:spChg>
      </pc:sldChg>
      <pc:sldChg chg="modSp del mod modNotes">
        <pc:chgData name="Thomas Stensitzki" userId="75cafe6b-2f2a-469b-85c4-eec3b9c972ba" providerId="ADAL" clId="{9C6FE5FE-931F-4020-9063-3CD210EE2AD2}" dt="2022-09-09T17:58:46.923" v="930" actId="47"/>
        <pc:sldMkLst>
          <pc:docMk/>
          <pc:sldMk cId="1907708175" sldId="264"/>
        </pc:sldMkLst>
        <pc:spChg chg="mod">
          <ac:chgData name="Thomas Stensitzki" userId="75cafe6b-2f2a-469b-85c4-eec3b9c972ba" providerId="ADAL" clId="{9C6FE5FE-931F-4020-9063-3CD210EE2AD2}" dt="2022-09-02T08:53:07.102" v="277" actId="790"/>
          <ac:spMkLst>
            <pc:docMk/>
            <pc:sldMk cId="1907708175" sldId="264"/>
            <ac:spMk id="2" creationId="{A23F0868-A04B-7DF5-4962-92FE28606B37}"/>
          </ac:spMkLst>
        </pc:spChg>
        <pc:graphicFrameChg chg="mod">
          <ac:chgData name="Thomas Stensitzki" userId="75cafe6b-2f2a-469b-85c4-eec3b9c972ba" providerId="ADAL" clId="{9C6FE5FE-931F-4020-9063-3CD210EE2AD2}" dt="2022-09-02T08:27:25.307" v="73" actId="20577"/>
          <ac:graphicFrameMkLst>
            <pc:docMk/>
            <pc:sldMk cId="1907708175" sldId="264"/>
            <ac:graphicFrameMk id="11" creationId="{950636E6-E44E-68FD-7B8F-BBF12471A9F7}"/>
          </ac:graphicFrameMkLst>
        </pc:graphicFrameChg>
      </pc:sldChg>
      <pc:sldChg chg="addSp modSp del mod modNotes">
        <pc:chgData name="Thomas Stensitzki" userId="75cafe6b-2f2a-469b-85c4-eec3b9c972ba" providerId="ADAL" clId="{9C6FE5FE-931F-4020-9063-3CD210EE2AD2}" dt="2022-09-09T17:58:46.923" v="930" actId="47"/>
        <pc:sldMkLst>
          <pc:docMk/>
          <pc:sldMk cId="3155834427" sldId="265"/>
        </pc:sldMkLst>
        <pc:spChg chg="mod">
          <ac:chgData name="Thomas Stensitzki" userId="75cafe6b-2f2a-469b-85c4-eec3b9c972ba" providerId="ADAL" clId="{9C6FE5FE-931F-4020-9063-3CD210EE2AD2}" dt="2022-09-02T08:53:07.112" v="280" actId="790"/>
          <ac:spMkLst>
            <pc:docMk/>
            <pc:sldMk cId="3155834427" sldId="265"/>
            <ac:spMk id="2" creationId="{A23F0868-A04B-7DF5-4962-92FE28606B37}"/>
          </ac:spMkLst>
        </pc:spChg>
        <pc:spChg chg="mod">
          <ac:chgData name="Thomas Stensitzki" userId="75cafe6b-2f2a-469b-85c4-eec3b9c972ba" providerId="ADAL" clId="{9C6FE5FE-931F-4020-9063-3CD210EE2AD2}" dt="2022-09-02T08:53:07.116" v="281" actId="790"/>
          <ac:spMkLst>
            <pc:docMk/>
            <pc:sldMk cId="3155834427" sldId="265"/>
            <ac:spMk id="3" creationId="{EB400383-F50B-D073-FEAB-F361ED849053}"/>
          </ac:spMkLst>
        </pc:spChg>
        <pc:picChg chg="add mod">
          <ac:chgData name="Thomas Stensitzki" userId="75cafe6b-2f2a-469b-85c4-eec3b9c972ba" providerId="ADAL" clId="{9C6FE5FE-931F-4020-9063-3CD210EE2AD2}" dt="2022-09-02T09:32:20.909" v="636" actId="1076"/>
          <ac:picMkLst>
            <pc:docMk/>
            <pc:sldMk cId="3155834427" sldId="265"/>
            <ac:picMk id="5" creationId="{CFD1AE4C-3B2A-B3C1-BA8E-60712F15E626}"/>
          </ac:picMkLst>
        </pc:picChg>
      </pc:sldChg>
      <pc:sldChg chg="modSp del mod modTransition modNotes">
        <pc:chgData name="Thomas Stensitzki" userId="75cafe6b-2f2a-469b-85c4-eec3b9c972ba" providerId="ADAL" clId="{9C6FE5FE-931F-4020-9063-3CD210EE2AD2}" dt="2022-09-10T16:46:26.594" v="3913" actId="47"/>
        <pc:sldMkLst>
          <pc:docMk/>
          <pc:sldMk cId="876933493" sldId="694"/>
        </pc:sldMkLst>
        <pc:spChg chg="mod">
          <ac:chgData name="Thomas Stensitzki" userId="75cafe6b-2f2a-469b-85c4-eec3b9c972ba" providerId="ADAL" clId="{9C6FE5FE-931F-4020-9063-3CD210EE2AD2}" dt="2022-09-02T08:53:07.244" v="331" actId="790"/>
          <ac:spMkLst>
            <pc:docMk/>
            <pc:sldMk cId="876933493" sldId="694"/>
            <ac:spMk id="2" creationId="{4FB89127-0DAE-18A4-B02F-8DCE85FC2BD4}"/>
          </ac:spMkLst>
        </pc:spChg>
        <pc:spChg chg="mod">
          <ac:chgData name="Thomas Stensitzki" userId="75cafe6b-2f2a-469b-85c4-eec3b9c972ba" providerId="ADAL" clId="{9C6FE5FE-931F-4020-9063-3CD210EE2AD2}" dt="2022-09-02T08:53:07.258" v="336" actId="790"/>
          <ac:spMkLst>
            <pc:docMk/>
            <pc:sldMk cId="876933493" sldId="694"/>
            <ac:spMk id="46" creationId="{00000000-0000-0000-0000-000000000000}"/>
          </ac:spMkLst>
        </pc:spChg>
        <pc:spChg chg="mod">
          <ac:chgData name="Thomas Stensitzki" userId="75cafe6b-2f2a-469b-85c4-eec3b9c972ba" providerId="ADAL" clId="{9C6FE5FE-931F-4020-9063-3CD210EE2AD2}" dt="2022-09-02T08:53:07.248" v="332" actId="790"/>
          <ac:spMkLst>
            <pc:docMk/>
            <pc:sldMk cId="876933493" sldId="694"/>
            <ac:spMk id="58" creationId="{DD79E316-5657-C82F-8919-040E8D28A8CE}"/>
          </ac:spMkLst>
        </pc:spChg>
        <pc:spChg chg="mod">
          <ac:chgData name="Thomas Stensitzki" userId="75cafe6b-2f2a-469b-85c4-eec3b9c972ba" providerId="ADAL" clId="{9C6FE5FE-931F-4020-9063-3CD210EE2AD2}" dt="2022-09-02T08:53:07.249" v="333" actId="790"/>
          <ac:spMkLst>
            <pc:docMk/>
            <pc:sldMk cId="876933493" sldId="694"/>
            <ac:spMk id="59" creationId="{652A1A28-FC4B-581D-657A-179E85DE7045}"/>
          </ac:spMkLst>
        </pc:spChg>
        <pc:spChg chg="mod">
          <ac:chgData name="Thomas Stensitzki" userId="75cafe6b-2f2a-469b-85c4-eec3b9c972ba" providerId="ADAL" clId="{9C6FE5FE-931F-4020-9063-3CD210EE2AD2}" dt="2022-09-02T08:53:07.251" v="334" actId="790"/>
          <ac:spMkLst>
            <pc:docMk/>
            <pc:sldMk cId="876933493" sldId="694"/>
            <ac:spMk id="60" creationId="{91B72074-D381-3927-759B-EF655DACA063}"/>
          </ac:spMkLst>
        </pc:spChg>
        <pc:spChg chg="mod">
          <ac:chgData name="Thomas Stensitzki" userId="75cafe6b-2f2a-469b-85c4-eec3b9c972ba" providerId="ADAL" clId="{9C6FE5FE-931F-4020-9063-3CD210EE2AD2}" dt="2022-09-02T08:53:07.252" v="335" actId="790"/>
          <ac:spMkLst>
            <pc:docMk/>
            <pc:sldMk cId="876933493" sldId="694"/>
            <ac:spMk id="62" creationId="{98AECD28-7B2C-32B5-76A8-C43658E698E2}"/>
          </ac:spMkLst>
        </pc:spChg>
        <pc:spChg chg="mod">
          <ac:chgData name="Thomas Stensitzki" userId="75cafe6b-2f2a-469b-85c4-eec3b9c972ba" providerId="ADAL" clId="{9C6FE5FE-931F-4020-9063-3CD210EE2AD2}" dt="2022-09-02T08:53:07.264" v="337" actId="790"/>
          <ac:spMkLst>
            <pc:docMk/>
            <pc:sldMk cId="876933493" sldId="694"/>
            <ac:spMk id="92" creationId="{D1CF3CFF-6383-F450-3E21-DF2A1031CE8D}"/>
          </ac:spMkLst>
        </pc:spChg>
        <pc:spChg chg="mod">
          <ac:chgData name="Thomas Stensitzki" userId="75cafe6b-2f2a-469b-85c4-eec3b9c972ba" providerId="ADAL" clId="{9C6FE5FE-931F-4020-9063-3CD210EE2AD2}" dt="2022-09-02T08:53:07.266" v="338" actId="790"/>
          <ac:spMkLst>
            <pc:docMk/>
            <pc:sldMk cId="876933493" sldId="694"/>
            <ac:spMk id="93" creationId="{7D3BE517-1296-B911-ED18-2EE1225C8CB1}"/>
          </ac:spMkLst>
        </pc:spChg>
        <pc:spChg chg="mod">
          <ac:chgData name="Thomas Stensitzki" userId="75cafe6b-2f2a-469b-85c4-eec3b9c972ba" providerId="ADAL" clId="{9C6FE5FE-931F-4020-9063-3CD210EE2AD2}" dt="2022-09-02T08:53:07.268" v="339" actId="790"/>
          <ac:spMkLst>
            <pc:docMk/>
            <pc:sldMk cId="876933493" sldId="694"/>
            <ac:spMk id="94" creationId="{B86DCD4B-F0C7-ED06-9BD8-5514C31066A4}"/>
          </ac:spMkLst>
        </pc:spChg>
        <pc:spChg chg="mod">
          <ac:chgData name="Thomas Stensitzki" userId="75cafe6b-2f2a-469b-85c4-eec3b9c972ba" providerId="ADAL" clId="{9C6FE5FE-931F-4020-9063-3CD210EE2AD2}" dt="2022-09-02T08:53:07.270" v="340" actId="790"/>
          <ac:spMkLst>
            <pc:docMk/>
            <pc:sldMk cId="876933493" sldId="694"/>
            <ac:spMk id="95" creationId="{C5B6948C-0D7C-9163-DA39-DEB3FCF27C5A}"/>
          </ac:spMkLst>
        </pc:spChg>
        <pc:spChg chg="mod">
          <ac:chgData name="Thomas Stensitzki" userId="75cafe6b-2f2a-469b-85c4-eec3b9c972ba" providerId="ADAL" clId="{9C6FE5FE-931F-4020-9063-3CD210EE2AD2}" dt="2022-09-02T08:53:07.272" v="341" actId="790"/>
          <ac:spMkLst>
            <pc:docMk/>
            <pc:sldMk cId="876933493" sldId="694"/>
            <ac:spMk id="96" creationId="{81E7E0BE-B2B3-8E2B-F141-049CBF0BA502}"/>
          </ac:spMkLst>
        </pc:spChg>
        <pc:spChg chg="mod">
          <ac:chgData name="Thomas Stensitzki" userId="75cafe6b-2f2a-469b-85c4-eec3b9c972ba" providerId="ADAL" clId="{9C6FE5FE-931F-4020-9063-3CD210EE2AD2}" dt="2022-09-02T08:53:07.274" v="342" actId="790"/>
          <ac:spMkLst>
            <pc:docMk/>
            <pc:sldMk cId="876933493" sldId="694"/>
            <ac:spMk id="97" creationId="{8316892D-757F-47BE-B102-B2118D48D0F6}"/>
          </ac:spMkLst>
        </pc:spChg>
        <pc:spChg chg="mod">
          <ac:chgData name="Thomas Stensitzki" userId="75cafe6b-2f2a-469b-85c4-eec3b9c972ba" providerId="ADAL" clId="{9C6FE5FE-931F-4020-9063-3CD210EE2AD2}" dt="2022-09-02T08:53:07.276" v="343" actId="790"/>
          <ac:spMkLst>
            <pc:docMk/>
            <pc:sldMk cId="876933493" sldId="694"/>
            <ac:spMk id="98" creationId="{EE8B01F4-BAA8-524B-01D2-11965F95540D}"/>
          </ac:spMkLst>
        </pc:spChg>
        <pc:spChg chg="mod">
          <ac:chgData name="Thomas Stensitzki" userId="75cafe6b-2f2a-469b-85c4-eec3b9c972ba" providerId="ADAL" clId="{9C6FE5FE-931F-4020-9063-3CD210EE2AD2}" dt="2022-09-02T08:53:07.278" v="344" actId="790"/>
          <ac:spMkLst>
            <pc:docMk/>
            <pc:sldMk cId="876933493" sldId="694"/>
            <ac:spMk id="99" creationId="{3B36F9BA-F692-B606-96E8-38947F39FC06}"/>
          </ac:spMkLst>
        </pc:spChg>
        <pc:spChg chg="mod">
          <ac:chgData name="Thomas Stensitzki" userId="75cafe6b-2f2a-469b-85c4-eec3b9c972ba" providerId="ADAL" clId="{9C6FE5FE-931F-4020-9063-3CD210EE2AD2}" dt="2022-09-02T08:53:07.279" v="345" actId="790"/>
          <ac:spMkLst>
            <pc:docMk/>
            <pc:sldMk cId="876933493" sldId="694"/>
            <ac:spMk id="100" creationId="{6A10F1A0-7891-B755-F2C5-FCF717116D3F}"/>
          </ac:spMkLst>
        </pc:spChg>
        <pc:spChg chg="mod">
          <ac:chgData name="Thomas Stensitzki" userId="75cafe6b-2f2a-469b-85c4-eec3b9c972ba" providerId="ADAL" clId="{9C6FE5FE-931F-4020-9063-3CD210EE2AD2}" dt="2022-09-02T08:53:07.282" v="346" actId="790"/>
          <ac:spMkLst>
            <pc:docMk/>
            <pc:sldMk cId="876933493" sldId="694"/>
            <ac:spMk id="102" creationId="{11602BB8-E08C-5C47-0B21-96E6E529B992}"/>
          </ac:spMkLst>
        </pc:spChg>
        <pc:spChg chg="mod">
          <ac:chgData name="Thomas Stensitzki" userId="75cafe6b-2f2a-469b-85c4-eec3b9c972ba" providerId="ADAL" clId="{9C6FE5FE-931F-4020-9063-3CD210EE2AD2}" dt="2022-09-02T08:53:07.283" v="347" actId="790"/>
          <ac:spMkLst>
            <pc:docMk/>
            <pc:sldMk cId="876933493" sldId="694"/>
            <ac:spMk id="103" creationId="{D3042067-F6B0-14B6-C34C-7B5AFC261558}"/>
          </ac:spMkLst>
        </pc:spChg>
        <pc:spChg chg="mod">
          <ac:chgData name="Thomas Stensitzki" userId="75cafe6b-2f2a-469b-85c4-eec3b9c972ba" providerId="ADAL" clId="{9C6FE5FE-931F-4020-9063-3CD210EE2AD2}" dt="2022-09-02T08:53:07.285" v="348" actId="790"/>
          <ac:spMkLst>
            <pc:docMk/>
            <pc:sldMk cId="876933493" sldId="694"/>
            <ac:spMk id="104" creationId="{5EDF1FFE-4798-D793-E11F-EB448BFBEAB7}"/>
          </ac:spMkLst>
        </pc:spChg>
        <pc:spChg chg="mod">
          <ac:chgData name="Thomas Stensitzki" userId="75cafe6b-2f2a-469b-85c4-eec3b9c972ba" providerId="ADAL" clId="{9C6FE5FE-931F-4020-9063-3CD210EE2AD2}" dt="2022-09-02T08:53:07.286" v="349" actId="790"/>
          <ac:spMkLst>
            <pc:docMk/>
            <pc:sldMk cId="876933493" sldId="694"/>
            <ac:spMk id="105" creationId="{A76430DC-AC13-CA01-55E6-3E72AE5F26C1}"/>
          </ac:spMkLst>
        </pc:spChg>
        <pc:spChg chg="mod">
          <ac:chgData name="Thomas Stensitzki" userId="75cafe6b-2f2a-469b-85c4-eec3b9c972ba" providerId="ADAL" clId="{9C6FE5FE-931F-4020-9063-3CD210EE2AD2}" dt="2022-09-02T08:53:07.287" v="350" actId="790"/>
          <ac:spMkLst>
            <pc:docMk/>
            <pc:sldMk cId="876933493" sldId="694"/>
            <ac:spMk id="106" creationId="{2A231986-03E8-9635-66A5-4AFF883EB18A}"/>
          </ac:spMkLst>
        </pc:spChg>
        <pc:spChg chg="mod">
          <ac:chgData name="Thomas Stensitzki" userId="75cafe6b-2f2a-469b-85c4-eec3b9c972ba" providerId="ADAL" clId="{9C6FE5FE-931F-4020-9063-3CD210EE2AD2}" dt="2022-09-02T08:53:07.288" v="351" actId="790"/>
          <ac:spMkLst>
            <pc:docMk/>
            <pc:sldMk cId="876933493" sldId="694"/>
            <ac:spMk id="107" creationId="{60F58E65-3ED4-DA21-3C38-CF5712A53FFD}"/>
          </ac:spMkLst>
        </pc:spChg>
        <pc:spChg chg="mod">
          <ac:chgData name="Thomas Stensitzki" userId="75cafe6b-2f2a-469b-85c4-eec3b9c972ba" providerId="ADAL" clId="{9C6FE5FE-931F-4020-9063-3CD210EE2AD2}" dt="2022-09-02T08:53:07.289" v="352" actId="790"/>
          <ac:spMkLst>
            <pc:docMk/>
            <pc:sldMk cId="876933493" sldId="694"/>
            <ac:spMk id="108" creationId="{5D2A80C3-41CE-0615-FE4E-715CAECF1B2C}"/>
          </ac:spMkLst>
        </pc:spChg>
        <pc:spChg chg="mod">
          <ac:chgData name="Thomas Stensitzki" userId="75cafe6b-2f2a-469b-85c4-eec3b9c972ba" providerId="ADAL" clId="{9C6FE5FE-931F-4020-9063-3CD210EE2AD2}" dt="2022-09-02T08:53:07.290" v="353" actId="790"/>
          <ac:spMkLst>
            <pc:docMk/>
            <pc:sldMk cId="876933493" sldId="694"/>
            <ac:spMk id="109" creationId="{5E1BCB41-4E22-2A8C-1E1D-CEA562099542}"/>
          </ac:spMkLst>
        </pc:spChg>
        <pc:spChg chg="mod">
          <ac:chgData name="Thomas Stensitzki" userId="75cafe6b-2f2a-469b-85c4-eec3b9c972ba" providerId="ADAL" clId="{9C6FE5FE-931F-4020-9063-3CD210EE2AD2}" dt="2022-09-02T08:53:07.291" v="354" actId="790"/>
          <ac:spMkLst>
            <pc:docMk/>
            <pc:sldMk cId="876933493" sldId="694"/>
            <ac:spMk id="110" creationId="{F44DFA87-C660-3B9D-7C8B-5DD408A694D4}"/>
          </ac:spMkLst>
        </pc:spChg>
        <pc:spChg chg="mod">
          <ac:chgData name="Thomas Stensitzki" userId="75cafe6b-2f2a-469b-85c4-eec3b9c972ba" providerId="ADAL" clId="{9C6FE5FE-931F-4020-9063-3CD210EE2AD2}" dt="2022-09-02T08:53:07.294" v="355" actId="790"/>
          <ac:spMkLst>
            <pc:docMk/>
            <pc:sldMk cId="876933493" sldId="694"/>
            <ac:spMk id="112" creationId="{92AA4CC4-13FD-A0B5-49B4-2FCE1F030A1A}"/>
          </ac:spMkLst>
        </pc:spChg>
        <pc:spChg chg="mod">
          <ac:chgData name="Thomas Stensitzki" userId="75cafe6b-2f2a-469b-85c4-eec3b9c972ba" providerId="ADAL" clId="{9C6FE5FE-931F-4020-9063-3CD210EE2AD2}" dt="2022-09-02T08:53:07.295" v="356" actId="790"/>
          <ac:spMkLst>
            <pc:docMk/>
            <pc:sldMk cId="876933493" sldId="694"/>
            <ac:spMk id="113" creationId="{5E7A08F2-0A48-7B0F-DC06-189E919FE987}"/>
          </ac:spMkLst>
        </pc:spChg>
        <pc:spChg chg="mod">
          <ac:chgData name="Thomas Stensitzki" userId="75cafe6b-2f2a-469b-85c4-eec3b9c972ba" providerId="ADAL" clId="{9C6FE5FE-931F-4020-9063-3CD210EE2AD2}" dt="2022-09-02T08:53:07.296" v="357" actId="790"/>
          <ac:spMkLst>
            <pc:docMk/>
            <pc:sldMk cId="876933493" sldId="694"/>
            <ac:spMk id="114" creationId="{584AFA5E-E2C5-411F-A8A7-7DED3BDACE77}"/>
          </ac:spMkLst>
        </pc:spChg>
        <pc:spChg chg="mod">
          <ac:chgData name="Thomas Stensitzki" userId="75cafe6b-2f2a-469b-85c4-eec3b9c972ba" providerId="ADAL" clId="{9C6FE5FE-931F-4020-9063-3CD210EE2AD2}" dt="2022-09-02T08:53:07.298" v="358" actId="790"/>
          <ac:spMkLst>
            <pc:docMk/>
            <pc:sldMk cId="876933493" sldId="694"/>
            <ac:spMk id="115" creationId="{CCD5ED26-CD42-D20C-30B7-62E96704C5E9}"/>
          </ac:spMkLst>
        </pc:spChg>
        <pc:spChg chg="mod">
          <ac:chgData name="Thomas Stensitzki" userId="75cafe6b-2f2a-469b-85c4-eec3b9c972ba" providerId="ADAL" clId="{9C6FE5FE-931F-4020-9063-3CD210EE2AD2}" dt="2022-09-02T08:53:07.299" v="359" actId="790"/>
          <ac:spMkLst>
            <pc:docMk/>
            <pc:sldMk cId="876933493" sldId="694"/>
            <ac:spMk id="116" creationId="{1C55CD49-2000-21D4-A98C-64FEA5C5AAFB}"/>
          </ac:spMkLst>
        </pc:spChg>
        <pc:spChg chg="mod">
          <ac:chgData name="Thomas Stensitzki" userId="75cafe6b-2f2a-469b-85c4-eec3b9c972ba" providerId="ADAL" clId="{9C6FE5FE-931F-4020-9063-3CD210EE2AD2}" dt="2022-09-02T08:53:07.301" v="360" actId="790"/>
          <ac:spMkLst>
            <pc:docMk/>
            <pc:sldMk cId="876933493" sldId="694"/>
            <ac:spMk id="117" creationId="{93761D03-A32D-63F4-1FC8-4A8E0424A042}"/>
          </ac:spMkLst>
        </pc:spChg>
        <pc:spChg chg="mod">
          <ac:chgData name="Thomas Stensitzki" userId="75cafe6b-2f2a-469b-85c4-eec3b9c972ba" providerId="ADAL" clId="{9C6FE5FE-931F-4020-9063-3CD210EE2AD2}" dt="2022-09-02T08:53:07.302" v="361" actId="790"/>
          <ac:spMkLst>
            <pc:docMk/>
            <pc:sldMk cId="876933493" sldId="694"/>
            <ac:spMk id="118" creationId="{11356A90-E563-9F85-6202-3E591E134782}"/>
          </ac:spMkLst>
        </pc:spChg>
        <pc:spChg chg="mod">
          <ac:chgData name="Thomas Stensitzki" userId="75cafe6b-2f2a-469b-85c4-eec3b9c972ba" providerId="ADAL" clId="{9C6FE5FE-931F-4020-9063-3CD210EE2AD2}" dt="2022-09-02T08:53:07.303" v="362" actId="790"/>
          <ac:spMkLst>
            <pc:docMk/>
            <pc:sldMk cId="876933493" sldId="694"/>
            <ac:spMk id="119" creationId="{FF2A8DD2-9670-77CF-4652-F59466332575}"/>
          </ac:spMkLst>
        </pc:spChg>
        <pc:spChg chg="mod">
          <ac:chgData name="Thomas Stensitzki" userId="75cafe6b-2f2a-469b-85c4-eec3b9c972ba" providerId="ADAL" clId="{9C6FE5FE-931F-4020-9063-3CD210EE2AD2}" dt="2022-09-02T08:53:07.304" v="363" actId="790"/>
          <ac:spMkLst>
            <pc:docMk/>
            <pc:sldMk cId="876933493" sldId="694"/>
            <ac:spMk id="120" creationId="{34D3B33E-F84E-D1DF-E7B3-86EA8F7CE2BE}"/>
          </ac:spMkLst>
        </pc:spChg>
        <pc:spChg chg="mod">
          <ac:chgData name="Thomas Stensitzki" userId="75cafe6b-2f2a-469b-85c4-eec3b9c972ba" providerId="ADAL" clId="{9C6FE5FE-931F-4020-9063-3CD210EE2AD2}" dt="2022-09-02T08:53:07.306" v="364" actId="790"/>
          <ac:spMkLst>
            <pc:docMk/>
            <pc:sldMk cId="876933493" sldId="694"/>
            <ac:spMk id="122" creationId="{95E2DFEA-DED3-37FD-E6C9-497B3D1543AA}"/>
          </ac:spMkLst>
        </pc:spChg>
        <pc:spChg chg="mod">
          <ac:chgData name="Thomas Stensitzki" userId="75cafe6b-2f2a-469b-85c4-eec3b9c972ba" providerId="ADAL" clId="{9C6FE5FE-931F-4020-9063-3CD210EE2AD2}" dt="2022-09-02T08:53:07.307" v="365" actId="790"/>
          <ac:spMkLst>
            <pc:docMk/>
            <pc:sldMk cId="876933493" sldId="694"/>
            <ac:spMk id="123" creationId="{87E75030-41B9-B0A2-AFC0-7CFDBB3CAE23}"/>
          </ac:spMkLst>
        </pc:spChg>
        <pc:spChg chg="mod">
          <ac:chgData name="Thomas Stensitzki" userId="75cafe6b-2f2a-469b-85c4-eec3b9c972ba" providerId="ADAL" clId="{9C6FE5FE-931F-4020-9063-3CD210EE2AD2}" dt="2022-09-02T08:53:07.308" v="366" actId="790"/>
          <ac:spMkLst>
            <pc:docMk/>
            <pc:sldMk cId="876933493" sldId="694"/>
            <ac:spMk id="124" creationId="{BEC60319-BCF7-4537-7269-F6433175E14F}"/>
          </ac:spMkLst>
        </pc:spChg>
        <pc:spChg chg="mod">
          <ac:chgData name="Thomas Stensitzki" userId="75cafe6b-2f2a-469b-85c4-eec3b9c972ba" providerId="ADAL" clId="{9C6FE5FE-931F-4020-9063-3CD210EE2AD2}" dt="2022-09-02T08:53:07.309" v="367" actId="790"/>
          <ac:spMkLst>
            <pc:docMk/>
            <pc:sldMk cId="876933493" sldId="694"/>
            <ac:spMk id="125" creationId="{C55822CA-9824-7A55-0F34-C7FBF57DAA39}"/>
          </ac:spMkLst>
        </pc:spChg>
        <pc:spChg chg="mod">
          <ac:chgData name="Thomas Stensitzki" userId="75cafe6b-2f2a-469b-85c4-eec3b9c972ba" providerId="ADAL" clId="{9C6FE5FE-931F-4020-9063-3CD210EE2AD2}" dt="2022-09-02T08:53:07.311" v="368" actId="790"/>
          <ac:spMkLst>
            <pc:docMk/>
            <pc:sldMk cId="876933493" sldId="694"/>
            <ac:spMk id="126" creationId="{3BEAB6AB-A504-C768-FC74-36BD1AD74B46}"/>
          </ac:spMkLst>
        </pc:spChg>
        <pc:spChg chg="mod">
          <ac:chgData name="Thomas Stensitzki" userId="75cafe6b-2f2a-469b-85c4-eec3b9c972ba" providerId="ADAL" clId="{9C6FE5FE-931F-4020-9063-3CD210EE2AD2}" dt="2022-09-02T08:53:07.312" v="369" actId="790"/>
          <ac:spMkLst>
            <pc:docMk/>
            <pc:sldMk cId="876933493" sldId="694"/>
            <ac:spMk id="127" creationId="{8AF3E082-234B-779C-CB7D-C958FBE09592}"/>
          </ac:spMkLst>
        </pc:spChg>
        <pc:spChg chg="mod">
          <ac:chgData name="Thomas Stensitzki" userId="75cafe6b-2f2a-469b-85c4-eec3b9c972ba" providerId="ADAL" clId="{9C6FE5FE-931F-4020-9063-3CD210EE2AD2}" dt="2022-09-02T08:53:07.313" v="370" actId="790"/>
          <ac:spMkLst>
            <pc:docMk/>
            <pc:sldMk cId="876933493" sldId="694"/>
            <ac:spMk id="128" creationId="{999C5705-832D-91ED-96A4-954EFFFA7524}"/>
          </ac:spMkLst>
        </pc:spChg>
        <pc:spChg chg="mod">
          <ac:chgData name="Thomas Stensitzki" userId="75cafe6b-2f2a-469b-85c4-eec3b9c972ba" providerId="ADAL" clId="{9C6FE5FE-931F-4020-9063-3CD210EE2AD2}" dt="2022-09-02T08:53:07.314" v="371" actId="790"/>
          <ac:spMkLst>
            <pc:docMk/>
            <pc:sldMk cId="876933493" sldId="694"/>
            <ac:spMk id="129" creationId="{0CC96BE6-093F-8344-4429-C861E98AF527}"/>
          </ac:spMkLst>
        </pc:spChg>
        <pc:spChg chg="mod">
          <ac:chgData name="Thomas Stensitzki" userId="75cafe6b-2f2a-469b-85c4-eec3b9c972ba" providerId="ADAL" clId="{9C6FE5FE-931F-4020-9063-3CD210EE2AD2}" dt="2022-09-02T08:53:07.316" v="372" actId="790"/>
          <ac:spMkLst>
            <pc:docMk/>
            <pc:sldMk cId="876933493" sldId="694"/>
            <ac:spMk id="130" creationId="{45F6FE74-9DDD-AA48-AFB5-B5BE24954B56}"/>
          </ac:spMkLst>
        </pc:spChg>
      </pc:sldChg>
      <pc:sldChg chg="modSp del mod modTransition modNotes">
        <pc:chgData name="Thomas Stensitzki" userId="75cafe6b-2f2a-469b-85c4-eec3b9c972ba" providerId="ADAL" clId="{9C6FE5FE-931F-4020-9063-3CD210EE2AD2}" dt="2022-09-10T16:46:26.594" v="3913" actId="47"/>
        <pc:sldMkLst>
          <pc:docMk/>
          <pc:sldMk cId="38398633" sldId="695"/>
        </pc:sldMkLst>
        <pc:spChg chg="mod">
          <ac:chgData name="Thomas Stensitzki" userId="75cafe6b-2f2a-469b-85c4-eec3b9c972ba" providerId="ADAL" clId="{9C6FE5FE-931F-4020-9063-3CD210EE2AD2}" dt="2022-09-02T08:53:07.337" v="376" actId="790"/>
          <ac:spMkLst>
            <pc:docMk/>
            <pc:sldMk cId="38398633" sldId="695"/>
            <ac:spMk id="3" creationId="{AFE94BFF-5219-89FB-5352-615C77C46161}"/>
          </ac:spMkLst>
        </pc:spChg>
        <pc:spChg chg="mod">
          <ac:chgData name="Thomas Stensitzki" userId="75cafe6b-2f2a-469b-85c4-eec3b9c972ba" providerId="ADAL" clId="{9C6FE5FE-931F-4020-9063-3CD210EE2AD2}" dt="2022-09-02T08:53:07.324" v="375" actId="790"/>
          <ac:spMkLst>
            <pc:docMk/>
            <pc:sldMk cId="38398633" sldId="695"/>
            <ac:spMk id="28" creationId="{AAB041CE-AA41-4B7D-A554-6068423A8C69}"/>
          </ac:spMkLst>
        </pc:spChg>
        <pc:spChg chg="mod">
          <ac:chgData name="Thomas Stensitzki" userId="75cafe6b-2f2a-469b-85c4-eec3b9c972ba" providerId="ADAL" clId="{9C6FE5FE-931F-4020-9063-3CD210EE2AD2}" dt="2022-09-02T08:53:07.344" v="377" actId="790"/>
          <ac:spMkLst>
            <pc:docMk/>
            <pc:sldMk cId="38398633" sldId="695"/>
            <ac:spMk id="39" creationId="{55657CD3-395F-31FA-E518-47AE7D41066F}"/>
          </ac:spMkLst>
        </pc:spChg>
        <pc:spChg chg="mod">
          <ac:chgData name="Thomas Stensitzki" userId="75cafe6b-2f2a-469b-85c4-eec3b9c972ba" providerId="ADAL" clId="{9C6FE5FE-931F-4020-9063-3CD210EE2AD2}" dt="2022-09-02T08:53:07.346" v="378" actId="790"/>
          <ac:spMkLst>
            <pc:docMk/>
            <pc:sldMk cId="38398633" sldId="695"/>
            <ac:spMk id="40" creationId="{65FB7CB6-7E77-A5E7-4A30-7C8957F6C10E}"/>
          </ac:spMkLst>
        </pc:spChg>
        <pc:spChg chg="mod">
          <ac:chgData name="Thomas Stensitzki" userId="75cafe6b-2f2a-469b-85c4-eec3b9c972ba" providerId="ADAL" clId="{9C6FE5FE-931F-4020-9063-3CD210EE2AD2}" dt="2022-09-02T08:53:07.348" v="379" actId="790"/>
          <ac:spMkLst>
            <pc:docMk/>
            <pc:sldMk cId="38398633" sldId="695"/>
            <ac:spMk id="41" creationId="{466A6993-2F34-7F94-88FA-5F34FC394145}"/>
          </ac:spMkLst>
        </pc:spChg>
        <pc:spChg chg="mod">
          <ac:chgData name="Thomas Stensitzki" userId="75cafe6b-2f2a-469b-85c4-eec3b9c972ba" providerId="ADAL" clId="{9C6FE5FE-931F-4020-9063-3CD210EE2AD2}" dt="2022-09-02T08:53:07.349" v="380" actId="790"/>
          <ac:spMkLst>
            <pc:docMk/>
            <pc:sldMk cId="38398633" sldId="695"/>
            <ac:spMk id="42" creationId="{A542052C-1469-5B38-C6E2-D943AEF5B211}"/>
          </ac:spMkLst>
        </pc:spChg>
        <pc:spChg chg="mod">
          <ac:chgData name="Thomas Stensitzki" userId="75cafe6b-2f2a-469b-85c4-eec3b9c972ba" providerId="ADAL" clId="{9C6FE5FE-931F-4020-9063-3CD210EE2AD2}" dt="2022-09-02T08:53:07.351" v="381" actId="790"/>
          <ac:spMkLst>
            <pc:docMk/>
            <pc:sldMk cId="38398633" sldId="695"/>
            <ac:spMk id="43" creationId="{FADFF54A-CF25-EC2A-05E2-1149D4883FF8}"/>
          </ac:spMkLst>
        </pc:spChg>
        <pc:spChg chg="mod">
          <ac:chgData name="Thomas Stensitzki" userId="75cafe6b-2f2a-469b-85c4-eec3b9c972ba" providerId="ADAL" clId="{9C6FE5FE-931F-4020-9063-3CD210EE2AD2}" dt="2022-09-02T08:53:07.352" v="382" actId="790"/>
          <ac:spMkLst>
            <pc:docMk/>
            <pc:sldMk cId="38398633" sldId="695"/>
            <ac:spMk id="44" creationId="{51A8BD1A-3F5D-7664-739E-657E25CF4D6C}"/>
          </ac:spMkLst>
        </pc:spChg>
        <pc:spChg chg="mod">
          <ac:chgData name="Thomas Stensitzki" userId="75cafe6b-2f2a-469b-85c4-eec3b9c972ba" providerId="ADAL" clId="{9C6FE5FE-931F-4020-9063-3CD210EE2AD2}" dt="2022-09-02T08:53:07.353" v="383" actId="790"/>
          <ac:spMkLst>
            <pc:docMk/>
            <pc:sldMk cId="38398633" sldId="695"/>
            <ac:spMk id="45" creationId="{EF602E8D-5A5F-DBC1-A1E5-A596E3EBCE5B}"/>
          </ac:spMkLst>
        </pc:spChg>
        <pc:spChg chg="mod">
          <ac:chgData name="Thomas Stensitzki" userId="75cafe6b-2f2a-469b-85c4-eec3b9c972ba" providerId="ADAL" clId="{9C6FE5FE-931F-4020-9063-3CD210EE2AD2}" dt="2022-09-02T08:53:07.355" v="384" actId="790"/>
          <ac:spMkLst>
            <pc:docMk/>
            <pc:sldMk cId="38398633" sldId="695"/>
            <ac:spMk id="46" creationId="{B71B4F3B-10D2-C80F-D33E-1065D01560A7}"/>
          </ac:spMkLst>
        </pc:spChg>
        <pc:spChg chg="mod">
          <ac:chgData name="Thomas Stensitzki" userId="75cafe6b-2f2a-469b-85c4-eec3b9c972ba" providerId="ADAL" clId="{9C6FE5FE-931F-4020-9063-3CD210EE2AD2}" dt="2022-09-02T08:53:07.356" v="385" actId="790"/>
          <ac:spMkLst>
            <pc:docMk/>
            <pc:sldMk cId="38398633" sldId="695"/>
            <ac:spMk id="47" creationId="{DF7ACCC1-B2E2-FA9A-6932-E8E02D537AAB}"/>
          </ac:spMkLst>
        </pc:spChg>
        <pc:spChg chg="mod">
          <ac:chgData name="Thomas Stensitzki" userId="75cafe6b-2f2a-469b-85c4-eec3b9c972ba" providerId="ADAL" clId="{9C6FE5FE-931F-4020-9063-3CD210EE2AD2}" dt="2022-09-02T08:53:07.358" v="386" actId="790"/>
          <ac:spMkLst>
            <pc:docMk/>
            <pc:sldMk cId="38398633" sldId="695"/>
            <ac:spMk id="48" creationId="{29A38C1C-B82B-DD23-631F-4540131887D8}"/>
          </ac:spMkLst>
        </pc:spChg>
        <pc:spChg chg="mod">
          <ac:chgData name="Thomas Stensitzki" userId="75cafe6b-2f2a-469b-85c4-eec3b9c972ba" providerId="ADAL" clId="{9C6FE5FE-931F-4020-9063-3CD210EE2AD2}" dt="2022-09-02T08:53:07.358" v="387" actId="790"/>
          <ac:spMkLst>
            <pc:docMk/>
            <pc:sldMk cId="38398633" sldId="695"/>
            <ac:spMk id="49" creationId="{897202BC-26B9-91E9-1576-556CCA51FA75}"/>
          </ac:spMkLst>
        </pc:spChg>
        <pc:spChg chg="mod">
          <ac:chgData name="Thomas Stensitzki" userId="75cafe6b-2f2a-469b-85c4-eec3b9c972ba" providerId="ADAL" clId="{9C6FE5FE-931F-4020-9063-3CD210EE2AD2}" dt="2022-09-02T08:53:07.360" v="388" actId="790"/>
          <ac:spMkLst>
            <pc:docMk/>
            <pc:sldMk cId="38398633" sldId="695"/>
            <ac:spMk id="50" creationId="{EE5D8B6A-A086-F9B7-F484-13AD3DFBAC89}"/>
          </ac:spMkLst>
        </pc:spChg>
        <pc:spChg chg="mod">
          <ac:chgData name="Thomas Stensitzki" userId="75cafe6b-2f2a-469b-85c4-eec3b9c972ba" providerId="ADAL" clId="{9C6FE5FE-931F-4020-9063-3CD210EE2AD2}" dt="2022-09-02T08:53:07.361" v="389" actId="790"/>
          <ac:spMkLst>
            <pc:docMk/>
            <pc:sldMk cId="38398633" sldId="695"/>
            <ac:spMk id="51" creationId="{08A2CFD1-50FB-49AC-4E86-3937CD8273A8}"/>
          </ac:spMkLst>
        </pc:spChg>
        <pc:spChg chg="mod">
          <ac:chgData name="Thomas Stensitzki" userId="75cafe6b-2f2a-469b-85c4-eec3b9c972ba" providerId="ADAL" clId="{9C6FE5FE-931F-4020-9063-3CD210EE2AD2}" dt="2022-09-02T08:53:07.362" v="390" actId="790"/>
          <ac:spMkLst>
            <pc:docMk/>
            <pc:sldMk cId="38398633" sldId="695"/>
            <ac:spMk id="52" creationId="{7A886F50-0B60-59EA-0ECE-E523F9748902}"/>
          </ac:spMkLst>
        </pc:spChg>
        <pc:spChg chg="mod">
          <ac:chgData name="Thomas Stensitzki" userId="75cafe6b-2f2a-469b-85c4-eec3b9c972ba" providerId="ADAL" clId="{9C6FE5FE-931F-4020-9063-3CD210EE2AD2}" dt="2022-09-02T08:53:07.363" v="391" actId="790"/>
          <ac:spMkLst>
            <pc:docMk/>
            <pc:sldMk cId="38398633" sldId="695"/>
            <ac:spMk id="53" creationId="{CB9AD29D-D6D6-E2D9-BDE2-373D43D92B54}"/>
          </ac:spMkLst>
        </pc:spChg>
        <pc:spChg chg="mod">
          <ac:chgData name="Thomas Stensitzki" userId="75cafe6b-2f2a-469b-85c4-eec3b9c972ba" providerId="ADAL" clId="{9C6FE5FE-931F-4020-9063-3CD210EE2AD2}" dt="2022-09-02T08:53:07.364" v="392" actId="790"/>
          <ac:spMkLst>
            <pc:docMk/>
            <pc:sldMk cId="38398633" sldId="695"/>
            <ac:spMk id="54" creationId="{C136A0C7-D5D3-2F0D-1A2F-0CDE584820DA}"/>
          </ac:spMkLst>
        </pc:spChg>
      </pc:sldChg>
      <pc:sldChg chg="modSp del mod modTransition modNotes">
        <pc:chgData name="Thomas Stensitzki" userId="75cafe6b-2f2a-469b-85c4-eec3b9c972ba" providerId="ADAL" clId="{9C6FE5FE-931F-4020-9063-3CD210EE2AD2}" dt="2022-09-10T16:46:26.594" v="3913" actId="47"/>
        <pc:sldMkLst>
          <pc:docMk/>
          <pc:sldMk cId="1799124099" sldId="696"/>
        </pc:sldMkLst>
        <pc:spChg chg="mod">
          <ac:chgData name="Thomas Stensitzki" userId="75cafe6b-2f2a-469b-85c4-eec3b9c972ba" providerId="ADAL" clId="{9C6FE5FE-931F-4020-9063-3CD210EE2AD2}" dt="2022-09-02T08:53:07.370" v="395" actId="790"/>
          <ac:spMkLst>
            <pc:docMk/>
            <pc:sldMk cId="1799124099" sldId="696"/>
            <ac:spMk id="2" creationId="{C26C536B-451B-43BD-39AC-DF7B2750631A}"/>
          </ac:spMkLst>
        </pc:spChg>
        <pc:spChg chg="mod">
          <ac:chgData name="Thomas Stensitzki" userId="75cafe6b-2f2a-469b-85c4-eec3b9c972ba" providerId="ADAL" clId="{9C6FE5FE-931F-4020-9063-3CD210EE2AD2}" dt="2022-09-02T08:53:07.371" v="396" actId="790"/>
          <ac:spMkLst>
            <pc:docMk/>
            <pc:sldMk cId="1799124099" sldId="696"/>
            <ac:spMk id="185" creationId="{D2D189EA-5CFF-F097-8FDA-A8A9F6E81034}"/>
          </ac:spMkLst>
        </pc:spChg>
        <pc:spChg chg="mod">
          <ac:chgData name="Thomas Stensitzki" userId="75cafe6b-2f2a-469b-85c4-eec3b9c972ba" providerId="ADAL" clId="{9C6FE5FE-931F-4020-9063-3CD210EE2AD2}" dt="2022-09-02T08:53:07.372" v="397" actId="790"/>
          <ac:spMkLst>
            <pc:docMk/>
            <pc:sldMk cId="1799124099" sldId="696"/>
            <ac:spMk id="186" creationId="{532A43F3-A9C8-8E19-08C3-8384991ECE47}"/>
          </ac:spMkLst>
        </pc:spChg>
        <pc:spChg chg="mod">
          <ac:chgData name="Thomas Stensitzki" userId="75cafe6b-2f2a-469b-85c4-eec3b9c972ba" providerId="ADAL" clId="{9C6FE5FE-931F-4020-9063-3CD210EE2AD2}" dt="2022-09-02T08:53:07.372" v="398" actId="790"/>
          <ac:spMkLst>
            <pc:docMk/>
            <pc:sldMk cId="1799124099" sldId="696"/>
            <ac:spMk id="188" creationId="{4B35EAA8-BAC4-94CE-7470-C531034FB95B}"/>
          </ac:spMkLst>
        </pc:spChg>
        <pc:spChg chg="mod">
          <ac:chgData name="Thomas Stensitzki" userId="75cafe6b-2f2a-469b-85c4-eec3b9c972ba" providerId="ADAL" clId="{9C6FE5FE-931F-4020-9063-3CD210EE2AD2}" dt="2022-09-02T08:53:07.373" v="399" actId="790"/>
          <ac:spMkLst>
            <pc:docMk/>
            <pc:sldMk cId="1799124099" sldId="696"/>
            <ac:spMk id="189" creationId="{AA54D99F-F9D2-B9EC-68AE-C6C19E758ACF}"/>
          </ac:spMkLst>
        </pc:spChg>
        <pc:spChg chg="mod">
          <ac:chgData name="Thomas Stensitzki" userId="75cafe6b-2f2a-469b-85c4-eec3b9c972ba" providerId="ADAL" clId="{9C6FE5FE-931F-4020-9063-3CD210EE2AD2}" dt="2022-09-02T08:53:07.373" v="400" actId="790"/>
          <ac:spMkLst>
            <pc:docMk/>
            <pc:sldMk cId="1799124099" sldId="696"/>
            <ac:spMk id="191" creationId="{C0549008-86F0-C0E3-38E6-65FDD8B1E7CE}"/>
          </ac:spMkLst>
        </pc:spChg>
        <pc:spChg chg="mod">
          <ac:chgData name="Thomas Stensitzki" userId="75cafe6b-2f2a-469b-85c4-eec3b9c972ba" providerId="ADAL" clId="{9C6FE5FE-931F-4020-9063-3CD210EE2AD2}" dt="2022-09-02T08:53:07.374" v="401" actId="790"/>
          <ac:spMkLst>
            <pc:docMk/>
            <pc:sldMk cId="1799124099" sldId="696"/>
            <ac:spMk id="192" creationId="{3055ACCA-20A9-EEBB-6824-E4F7B4E8BDE8}"/>
          </ac:spMkLst>
        </pc:spChg>
        <pc:spChg chg="mod">
          <ac:chgData name="Thomas Stensitzki" userId="75cafe6b-2f2a-469b-85c4-eec3b9c972ba" providerId="ADAL" clId="{9C6FE5FE-931F-4020-9063-3CD210EE2AD2}" dt="2022-09-02T08:53:07.375" v="402" actId="790"/>
          <ac:spMkLst>
            <pc:docMk/>
            <pc:sldMk cId="1799124099" sldId="696"/>
            <ac:spMk id="194" creationId="{6775A509-F0EF-5927-C791-6344E531962D}"/>
          </ac:spMkLst>
        </pc:spChg>
        <pc:spChg chg="mod">
          <ac:chgData name="Thomas Stensitzki" userId="75cafe6b-2f2a-469b-85c4-eec3b9c972ba" providerId="ADAL" clId="{9C6FE5FE-931F-4020-9063-3CD210EE2AD2}" dt="2022-09-02T08:53:07.375" v="403" actId="790"/>
          <ac:spMkLst>
            <pc:docMk/>
            <pc:sldMk cId="1799124099" sldId="696"/>
            <ac:spMk id="195" creationId="{1CFFFB7E-FCA9-96AF-6BC3-28D89A1885E6}"/>
          </ac:spMkLst>
        </pc:spChg>
        <pc:spChg chg="mod">
          <ac:chgData name="Thomas Stensitzki" userId="75cafe6b-2f2a-469b-85c4-eec3b9c972ba" providerId="ADAL" clId="{9C6FE5FE-931F-4020-9063-3CD210EE2AD2}" dt="2022-09-02T08:53:07.376" v="404" actId="790"/>
          <ac:spMkLst>
            <pc:docMk/>
            <pc:sldMk cId="1799124099" sldId="696"/>
            <ac:spMk id="197" creationId="{61B8D59B-E6E1-28CA-DA99-6AEE38C567C2}"/>
          </ac:spMkLst>
        </pc:spChg>
        <pc:spChg chg="mod">
          <ac:chgData name="Thomas Stensitzki" userId="75cafe6b-2f2a-469b-85c4-eec3b9c972ba" providerId="ADAL" clId="{9C6FE5FE-931F-4020-9063-3CD210EE2AD2}" dt="2022-09-02T08:53:07.376" v="405" actId="790"/>
          <ac:spMkLst>
            <pc:docMk/>
            <pc:sldMk cId="1799124099" sldId="696"/>
            <ac:spMk id="198" creationId="{07D680C4-5749-22BD-B00F-D3B578E7187B}"/>
          </ac:spMkLst>
        </pc:spChg>
        <pc:spChg chg="mod">
          <ac:chgData name="Thomas Stensitzki" userId="75cafe6b-2f2a-469b-85c4-eec3b9c972ba" providerId="ADAL" clId="{9C6FE5FE-931F-4020-9063-3CD210EE2AD2}" dt="2022-09-02T08:53:07.377" v="406" actId="790"/>
          <ac:spMkLst>
            <pc:docMk/>
            <pc:sldMk cId="1799124099" sldId="696"/>
            <ac:spMk id="200" creationId="{DBEA26B2-BF31-F8BD-2003-CBEF67FDB555}"/>
          </ac:spMkLst>
        </pc:spChg>
        <pc:spChg chg="mod">
          <ac:chgData name="Thomas Stensitzki" userId="75cafe6b-2f2a-469b-85c4-eec3b9c972ba" providerId="ADAL" clId="{9C6FE5FE-931F-4020-9063-3CD210EE2AD2}" dt="2022-09-02T08:53:07.378" v="407" actId="790"/>
          <ac:spMkLst>
            <pc:docMk/>
            <pc:sldMk cId="1799124099" sldId="696"/>
            <ac:spMk id="201" creationId="{836BCD1D-C2B4-51A4-0F60-20AFDD9B8694}"/>
          </ac:spMkLst>
        </pc:spChg>
        <pc:spChg chg="mod">
          <ac:chgData name="Thomas Stensitzki" userId="75cafe6b-2f2a-469b-85c4-eec3b9c972ba" providerId="ADAL" clId="{9C6FE5FE-931F-4020-9063-3CD210EE2AD2}" dt="2022-09-02T08:53:07.378" v="408" actId="790"/>
          <ac:spMkLst>
            <pc:docMk/>
            <pc:sldMk cId="1799124099" sldId="696"/>
            <ac:spMk id="203" creationId="{46A1DCFA-963C-D263-1831-04908548F2F4}"/>
          </ac:spMkLst>
        </pc:spChg>
        <pc:spChg chg="mod">
          <ac:chgData name="Thomas Stensitzki" userId="75cafe6b-2f2a-469b-85c4-eec3b9c972ba" providerId="ADAL" clId="{9C6FE5FE-931F-4020-9063-3CD210EE2AD2}" dt="2022-09-02T08:53:07.379" v="409" actId="790"/>
          <ac:spMkLst>
            <pc:docMk/>
            <pc:sldMk cId="1799124099" sldId="696"/>
            <ac:spMk id="204" creationId="{CFE03ABA-0BF3-C780-6C62-870FBB8B2978}"/>
          </ac:spMkLst>
        </pc:spChg>
        <pc:spChg chg="mod">
          <ac:chgData name="Thomas Stensitzki" userId="75cafe6b-2f2a-469b-85c4-eec3b9c972ba" providerId="ADAL" clId="{9C6FE5FE-931F-4020-9063-3CD210EE2AD2}" dt="2022-09-02T08:53:07.395" v="412" actId="790"/>
          <ac:spMkLst>
            <pc:docMk/>
            <pc:sldMk cId="1799124099" sldId="696"/>
            <ac:spMk id="207" creationId="{0ADBE2D2-97E7-A35E-FEC7-A7036277936A}"/>
          </ac:spMkLst>
        </pc:spChg>
        <pc:spChg chg="mod">
          <ac:chgData name="Thomas Stensitzki" userId="75cafe6b-2f2a-469b-85c4-eec3b9c972ba" providerId="ADAL" clId="{9C6FE5FE-931F-4020-9063-3CD210EE2AD2}" dt="2022-09-02T08:53:07.396" v="413" actId="790"/>
          <ac:spMkLst>
            <pc:docMk/>
            <pc:sldMk cId="1799124099" sldId="696"/>
            <ac:spMk id="208" creationId="{4F6F3001-6520-522B-D550-FF52A8F01420}"/>
          </ac:spMkLst>
        </pc:spChg>
        <pc:spChg chg="mod">
          <ac:chgData name="Thomas Stensitzki" userId="75cafe6b-2f2a-469b-85c4-eec3b9c972ba" providerId="ADAL" clId="{9C6FE5FE-931F-4020-9063-3CD210EE2AD2}" dt="2022-09-02T08:53:07.386" v="410" actId="790"/>
          <ac:spMkLst>
            <pc:docMk/>
            <pc:sldMk cId="1799124099" sldId="696"/>
            <ac:spMk id="209" creationId="{F8C51280-DE6A-EACE-11E4-2CC8565D0D44}"/>
          </ac:spMkLst>
        </pc:spChg>
        <pc:spChg chg="mod">
          <ac:chgData name="Thomas Stensitzki" userId="75cafe6b-2f2a-469b-85c4-eec3b9c972ba" providerId="ADAL" clId="{9C6FE5FE-931F-4020-9063-3CD210EE2AD2}" dt="2022-09-02T08:53:07.394" v="411" actId="790"/>
          <ac:spMkLst>
            <pc:docMk/>
            <pc:sldMk cId="1799124099" sldId="696"/>
            <ac:spMk id="210" creationId="{6EEA46DF-D686-6762-0A59-65655EEB1C4F}"/>
          </ac:spMkLst>
        </pc:spChg>
        <pc:spChg chg="mod">
          <ac:chgData name="Thomas Stensitzki" userId="75cafe6b-2f2a-469b-85c4-eec3b9c972ba" providerId="ADAL" clId="{9C6FE5FE-931F-4020-9063-3CD210EE2AD2}" dt="2022-09-02T08:53:07.403" v="416" actId="790"/>
          <ac:spMkLst>
            <pc:docMk/>
            <pc:sldMk cId="1799124099" sldId="696"/>
            <ac:spMk id="213" creationId="{2F129A3F-9ECE-131F-D82D-3A6F288B1DF5}"/>
          </ac:spMkLst>
        </pc:spChg>
        <pc:spChg chg="mod">
          <ac:chgData name="Thomas Stensitzki" userId="75cafe6b-2f2a-469b-85c4-eec3b9c972ba" providerId="ADAL" clId="{9C6FE5FE-931F-4020-9063-3CD210EE2AD2}" dt="2022-09-02T08:53:07.404" v="417" actId="790"/>
          <ac:spMkLst>
            <pc:docMk/>
            <pc:sldMk cId="1799124099" sldId="696"/>
            <ac:spMk id="214" creationId="{C244D29E-1810-F805-E6BE-B9660F3C7E25}"/>
          </ac:spMkLst>
        </pc:spChg>
        <pc:spChg chg="mod">
          <ac:chgData name="Thomas Stensitzki" userId="75cafe6b-2f2a-469b-85c4-eec3b9c972ba" providerId="ADAL" clId="{9C6FE5FE-931F-4020-9063-3CD210EE2AD2}" dt="2022-09-02T08:53:07.398" v="414" actId="790"/>
          <ac:spMkLst>
            <pc:docMk/>
            <pc:sldMk cId="1799124099" sldId="696"/>
            <ac:spMk id="215" creationId="{611197A0-BF97-365A-7E79-3A9EB6BD8218}"/>
          </ac:spMkLst>
        </pc:spChg>
        <pc:spChg chg="mod">
          <ac:chgData name="Thomas Stensitzki" userId="75cafe6b-2f2a-469b-85c4-eec3b9c972ba" providerId="ADAL" clId="{9C6FE5FE-931F-4020-9063-3CD210EE2AD2}" dt="2022-09-02T08:53:07.402" v="415" actId="790"/>
          <ac:spMkLst>
            <pc:docMk/>
            <pc:sldMk cId="1799124099" sldId="696"/>
            <ac:spMk id="216" creationId="{7D9DE53B-16C0-3FC0-9540-06F1DF2E5F3C}"/>
          </ac:spMkLst>
        </pc:spChg>
        <pc:spChg chg="mod">
          <ac:chgData name="Thomas Stensitzki" userId="75cafe6b-2f2a-469b-85c4-eec3b9c972ba" providerId="ADAL" clId="{9C6FE5FE-931F-4020-9063-3CD210EE2AD2}" dt="2022-09-02T08:53:07.410" v="420" actId="790"/>
          <ac:spMkLst>
            <pc:docMk/>
            <pc:sldMk cId="1799124099" sldId="696"/>
            <ac:spMk id="219" creationId="{819B52A9-29E2-850F-9750-841754737104}"/>
          </ac:spMkLst>
        </pc:spChg>
        <pc:spChg chg="mod">
          <ac:chgData name="Thomas Stensitzki" userId="75cafe6b-2f2a-469b-85c4-eec3b9c972ba" providerId="ADAL" clId="{9C6FE5FE-931F-4020-9063-3CD210EE2AD2}" dt="2022-09-02T08:53:07.411" v="421" actId="790"/>
          <ac:spMkLst>
            <pc:docMk/>
            <pc:sldMk cId="1799124099" sldId="696"/>
            <ac:spMk id="220" creationId="{11315CE5-5A61-C480-B34A-44CDABFC7F70}"/>
          </ac:spMkLst>
        </pc:spChg>
        <pc:spChg chg="mod">
          <ac:chgData name="Thomas Stensitzki" userId="75cafe6b-2f2a-469b-85c4-eec3b9c972ba" providerId="ADAL" clId="{9C6FE5FE-931F-4020-9063-3CD210EE2AD2}" dt="2022-09-02T08:53:07.406" v="418" actId="790"/>
          <ac:spMkLst>
            <pc:docMk/>
            <pc:sldMk cId="1799124099" sldId="696"/>
            <ac:spMk id="221" creationId="{B20B0CCF-7F63-4B21-DE98-0510BC8B95DE}"/>
          </ac:spMkLst>
        </pc:spChg>
        <pc:spChg chg="mod">
          <ac:chgData name="Thomas Stensitzki" userId="75cafe6b-2f2a-469b-85c4-eec3b9c972ba" providerId="ADAL" clId="{9C6FE5FE-931F-4020-9063-3CD210EE2AD2}" dt="2022-09-02T08:53:07.409" v="419" actId="790"/>
          <ac:spMkLst>
            <pc:docMk/>
            <pc:sldMk cId="1799124099" sldId="696"/>
            <ac:spMk id="222" creationId="{B4746D5D-A206-86CB-E771-1BDBD502FA48}"/>
          </ac:spMkLst>
        </pc:spChg>
        <pc:spChg chg="mod">
          <ac:chgData name="Thomas Stensitzki" userId="75cafe6b-2f2a-469b-85c4-eec3b9c972ba" providerId="ADAL" clId="{9C6FE5FE-931F-4020-9063-3CD210EE2AD2}" dt="2022-09-02T08:53:07.418" v="424" actId="790"/>
          <ac:spMkLst>
            <pc:docMk/>
            <pc:sldMk cId="1799124099" sldId="696"/>
            <ac:spMk id="225" creationId="{2CF06826-0CE8-1FD2-2C96-76557BDC4D4D}"/>
          </ac:spMkLst>
        </pc:spChg>
        <pc:spChg chg="mod">
          <ac:chgData name="Thomas Stensitzki" userId="75cafe6b-2f2a-469b-85c4-eec3b9c972ba" providerId="ADAL" clId="{9C6FE5FE-931F-4020-9063-3CD210EE2AD2}" dt="2022-09-02T08:53:07.418" v="425" actId="790"/>
          <ac:spMkLst>
            <pc:docMk/>
            <pc:sldMk cId="1799124099" sldId="696"/>
            <ac:spMk id="226" creationId="{8D2321B5-FAAE-7D2D-F6F8-B605106D1448}"/>
          </ac:spMkLst>
        </pc:spChg>
        <pc:spChg chg="mod">
          <ac:chgData name="Thomas Stensitzki" userId="75cafe6b-2f2a-469b-85c4-eec3b9c972ba" providerId="ADAL" clId="{9C6FE5FE-931F-4020-9063-3CD210EE2AD2}" dt="2022-09-02T08:53:07.413" v="422" actId="790"/>
          <ac:spMkLst>
            <pc:docMk/>
            <pc:sldMk cId="1799124099" sldId="696"/>
            <ac:spMk id="227" creationId="{3AA31817-F4B1-F5A0-68A8-0255B1B06D29}"/>
          </ac:spMkLst>
        </pc:spChg>
        <pc:spChg chg="mod">
          <ac:chgData name="Thomas Stensitzki" userId="75cafe6b-2f2a-469b-85c4-eec3b9c972ba" providerId="ADAL" clId="{9C6FE5FE-931F-4020-9063-3CD210EE2AD2}" dt="2022-09-02T08:53:07.417" v="423" actId="790"/>
          <ac:spMkLst>
            <pc:docMk/>
            <pc:sldMk cId="1799124099" sldId="696"/>
            <ac:spMk id="228" creationId="{C8869330-4E49-D6B9-2BE7-1B7DA9FBD3F8}"/>
          </ac:spMkLst>
        </pc:spChg>
        <pc:spChg chg="mod">
          <ac:chgData name="Thomas Stensitzki" userId="75cafe6b-2f2a-469b-85c4-eec3b9c972ba" providerId="ADAL" clId="{9C6FE5FE-931F-4020-9063-3CD210EE2AD2}" dt="2022-09-02T08:53:07.425" v="428" actId="790"/>
          <ac:spMkLst>
            <pc:docMk/>
            <pc:sldMk cId="1799124099" sldId="696"/>
            <ac:spMk id="231" creationId="{8549B30E-5540-8E29-54B0-59CD942462E2}"/>
          </ac:spMkLst>
        </pc:spChg>
        <pc:spChg chg="mod">
          <ac:chgData name="Thomas Stensitzki" userId="75cafe6b-2f2a-469b-85c4-eec3b9c972ba" providerId="ADAL" clId="{9C6FE5FE-931F-4020-9063-3CD210EE2AD2}" dt="2022-09-02T08:53:07.425" v="429" actId="790"/>
          <ac:spMkLst>
            <pc:docMk/>
            <pc:sldMk cId="1799124099" sldId="696"/>
            <ac:spMk id="232" creationId="{4BA79722-9ED5-A3EB-B3BB-0881A1516982}"/>
          </ac:spMkLst>
        </pc:spChg>
        <pc:spChg chg="mod">
          <ac:chgData name="Thomas Stensitzki" userId="75cafe6b-2f2a-469b-85c4-eec3b9c972ba" providerId="ADAL" clId="{9C6FE5FE-931F-4020-9063-3CD210EE2AD2}" dt="2022-09-02T08:53:07.420" v="426" actId="790"/>
          <ac:spMkLst>
            <pc:docMk/>
            <pc:sldMk cId="1799124099" sldId="696"/>
            <ac:spMk id="233" creationId="{79682D10-51C3-DD18-CD23-51A3B57B8AAC}"/>
          </ac:spMkLst>
        </pc:spChg>
        <pc:spChg chg="mod">
          <ac:chgData name="Thomas Stensitzki" userId="75cafe6b-2f2a-469b-85c4-eec3b9c972ba" providerId="ADAL" clId="{9C6FE5FE-931F-4020-9063-3CD210EE2AD2}" dt="2022-09-02T08:53:07.424" v="427" actId="790"/>
          <ac:spMkLst>
            <pc:docMk/>
            <pc:sldMk cId="1799124099" sldId="696"/>
            <ac:spMk id="234" creationId="{81B70C0A-3939-D20B-632D-8D72F333EE11}"/>
          </ac:spMkLst>
        </pc:spChg>
        <pc:spChg chg="mod">
          <ac:chgData name="Thomas Stensitzki" userId="75cafe6b-2f2a-469b-85c4-eec3b9c972ba" providerId="ADAL" clId="{9C6FE5FE-931F-4020-9063-3CD210EE2AD2}" dt="2022-09-02T08:53:07.432" v="432" actId="790"/>
          <ac:spMkLst>
            <pc:docMk/>
            <pc:sldMk cId="1799124099" sldId="696"/>
            <ac:spMk id="237" creationId="{53423113-5594-B9F5-846A-B861A3F8E53A}"/>
          </ac:spMkLst>
        </pc:spChg>
        <pc:spChg chg="mod">
          <ac:chgData name="Thomas Stensitzki" userId="75cafe6b-2f2a-469b-85c4-eec3b9c972ba" providerId="ADAL" clId="{9C6FE5FE-931F-4020-9063-3CD210EE2AD2}" dt="2022-09-02T08:53:07.432" v="433" actId="790"/>
          <ac:spMkLst>
            <pc:docMk/>
            <pc:sldMk cId="1799124099" sldId="696"/>
            <ac:spMk id="238" creationId="{1A770869-DCBE-6CEC-16E7-4DC6891D4DF0}"/>
          </ac:spMkLst>
        </pc:spChg>
        <pc:spChg chg="mod">
          <ac:chgData name="Thomas Stensitzki" userId="75cafe6b-2f2a-469b-85c4-eec3b9c972ba" providerId="ADAL" clId="{9C6FE5FE-931F-4020-9063-3CD210EE2AD2}" dt="2022-09-02T08:53:07.427" v="430" actId="790"/>
          <ac:spMkLst>
            <pc:docMk/>
            <pc:sldMk cId="1799124099" sldId="696"/>
            <ac:spMk id="239" creationId="{B663BBAA-0203-081F-BED8-EC66C0E544F5}"/>
          </ac:spMkLst>
        </pc:spChg>
        <pc:spChg chg="mod">
          <ac:chgData name="Thomas Stensitzki" userId="75cafe6b-2f2a-469b-85c4-eec3b9c972ba" providerId="ADAL" clId="{9C6FE5FE-931F-4020-9063-3CD210EE2AD2}" dt="2022-09-02T08:53:07.431" v="431" actId="790"/>
          <ac:spMkLst>
            <pc:docMk/>
            <pc:sldMk cId="1799124099" sldId="696"/>
            <ac:spMk id="240" creationId="{27F970CB-29BE-5B35-CE0B-9A0DB5D05E6B}"/>
          </ac:spMkLst>
        </pc:spChg>
      </pc:sldChg>
      <pc:sldChg chg="modSp del mod modTransition modNotes">
        <pc:chgData name="Thomas Stensitzki" userId="75cafe6b-2f2a-469b-85c4-eec3b9c972ba" providerId="ADAL" clId="{9C6FE5FE-931F-4020-9063-3CD210EE2AD2}" dt="2022-09-10T16:46:26.594" v="3913" actId="47"/>
        <pc:sldMkLst>
          <pc:docMk/>
          <pc:sldMk cId="3207653920" sldId="722"/>
        </pc:sldMkLst>
        <pc:spChg chg="mod">
          <ac:chgData name="Thomas Stensitzki" userId="75cafe6b-2f2a-469b-85c4-eec3b9c972ba" providerId="ADAL" clId="{9C6FE5FE-931F-4020-9063-3CD210EE2AD2}" dt="2022-09-02T08:53:07.437" v="436" actId="790"/>
          <ac:spMkLst>
            <pc:docMk/>
            <pc:sldMk cId="3207653920" sldId="722"/>
            <ac:spMk id="4" creationId="{82211F63-9B49-787B-D232-E9A3A7A82B20}"/>
          </ac:spMkLst>
        </pc:spChg>
        <pc:spChg chg="mod">
          <ac:chgData name="Thomas Stensitzki" userId="75cafe6b-2f2a-469b-85c4-eec3b9c972ba" providerId="ADAL" clId="{9C6FE5FE-931F-4020-9063-3CD210EE2AD2}" dt="2022-09-02T08:53:07.439" v="437" actId="790"/>
          <ac:spMkLst>
            <pc:docMk/>
            <pc:sldMk cId="3207653920" sldId="722"/>
            <ac:spMk id="79" creationId="{958C6ED5-3C3C-ECA9-8798-EDD4D916F152}"/>
          </ac:spMkLst>
        </pc:spChg>
        <pc:spChg chg="mod">
          <ac:chgData name="Thomas Stensitzki" userId="75cafe6b-2f2a-469b-85c4-eec3b9c972ba" providerId="ADAL" clId="{9C6FE5FE-931F-4020-9063-3CD210EE2AD2}" dt="2022-09-02T08:53:07.440" v="438" actId="790"/>
          <ac:spMkLst>
            <pc:docMk/>
            <pc:sldMk cId="3207653920" sldId="722"/>
            <ac:spMk id="80" creationId="{B7361FAA-E3DB-04BC-8223-3558ADC6A531}"/>
          </ac:spMkLst>
        </pc:spChg>
        <pc:spChg chg="mod">
          <ac:chgData name="Thomas Stensitzki" userId="75cafe6b-2f2a-469b-85c4-eec3b9c972ba" providerId="ADAL" clId="{9C6FE5FE-931F-4020-9063-3CD210EE2AD2}" dt="2022-09-02T08:53:07.440" v="439" actId="790"/>
          <ac:spMkLst>
            <pc:docMk/>
            <pc:sldMk cId="3207653920" sldId="722"/>
            <ac:spMk id="81" creationId="{ED6BC067-615E-816E-0E9F-E2311B20B0BB}"/>
          </ac:spMkLst>
        </pc:spChg>
        <pc:spChg chg="mod">
          <ac:chgData name="Thomas Stensitzki" userId="75cafe6b-2f2a-469b-85c4-eec3b9c972ba" providerId="ADAL" clId="{9C6FE5FE-931F-4020-9063-3CD210EE2AD2}" dt="2022-09-02T08:53:07.441" v="440" actId="790"/>
          <ac:spMkLst>
            <pc:docMk/>
            <pc:sldMk cId="3207653920" sldId="722"/>
            <ac:spMk id="83" creationId="{69230B93-DA64-7F55-5D59-58A178572689}"/>
          </ac:spMkLst>
        </pc:spChg>
        <pc:spChg chg="mod">
          <ac:chgData name="Thomas Stensitzki" userId="75cafe6b-2f2a-469b-85c4-eec3b9c972ba" providerId="ADAL" clId="{9C6FE5FE-931F-4020-9063-3CD210EE2AD2}" dt="2022-09-02T08:53:07.442" v="441" actId="790"/>
          <ac:spMkLst>
            <pc:docMk/>
            <pc:sldMk cId="3207653920" sldId="722"/>
            <ac:spMk id="84" creationId="{55B4AD7F-080A-D317-F6DE-01B96CE6C305}"/>
          </ac:spMkLst>
        </pc:spChg>
        <pc:spChg chg="mod">
          <ac:chgData name="Thomas Stensitzki" userId="75cafe6b-2f2a-469b-85c4-eec3b9c972ba" providerId="ADAL" clId="{9C6FE5FE-931F-4020-9063-3CD210EE2AD2}" dt="2022-09-02T08:53:07.442" v="442" actId="790"/>
          <ac:spMkLst>
            <pc:docMk/>
            <pc:sldMk cId="3207653920" sldId="722"/>
            <ac:spMk id="85" creationId="{60224966-4875-C156-85CC-AAC2594674CB}"/>
          </ac:spMkLst>
        </pc:spChg>
        <pc:spChg chg="mod">
          <ac:chgData name="Thomas Stensitzki" userId="75cafe6b-2f2a-469b-85c4-eec3b9c972ba" providerId="ADAL" clId="{9C6FE5FE-931F-4020-9063-3CD210EE2AD2}" dt="2022-09-02T08:53:07.443" v="443" actId="790"/>
          <ac:spMkLst>
            <pc:docMk/>
            <pc:sldMk cId="3207653920" sldId="722"/>
            <ac:spMk id="87" creationId="{CD3A4420-3B41-1CEA-4E6C-EA25B5A5A0E6}"/>
          </ac:spMkLst>
        </pc:spChg>
        <pc:spChg chg="mod">
          <ac:chgData name="Thomas Stensitzki" userId="75cafe6b-2f2a-469b-85c4-eec3b9c972ba" providerId="ADAL" clId="{9C6FE5FE-931F-4020-9063-3CD210EE2AD2}" dt="2022-09-02T08:53:07.443" v="444" actId="790"/>
          <ac:spMkLst>
            <pc:docMk/>
            <pc:sldMk cId="3207653920" sldId="722"/>
            <ac:spMk id="88" creationId="{6B66AE22-832A-BC2F-5408-9C25A3B8CBAB}"/>
          </ac:spMkLst>
        </pc:spChg>
        <pc:spChg chg="mod">
          <ac:chgData name="Thomas Stensitzki" userId="75cafe6b-2f2a-469b-85c4-eec3b9c972ba" providerId="ADAL" clId="{9C6FE5FE-931F-4020-9063-3CD210EE2AD2}" dt="2022-09-02T08:53:07.444" v="445" actId="790"/>
          <ac:spMkLst>
            <pc:docMk/>
            <pc:sldMk cId="3207653920" sldId="722"/>
            <ac:spMk id="89" creationId="{5D0FB8E7-8B53-0125-A411-1BD1195D555F}"/>
          </ac:spMkLst>
        </pc:spChg>
        <pc:spChg chg="mod">
          <ac:chgData name="Thomas Stensitzki" userId="75cafe6b-2f2a-469b-85c4-eec3b9c972ba" providerId="ADAL" clId="{9C6FE5FE-931F-4020-9063-3CD210EE2AD2}" dt="2022-09-02T08:53:07.446" v="446"/>
          <ac:spMkLst>
            <pc:docMk/>
            <pc:sldMk cId="3207653920" sldId="722"/>
            <ac:spMk id="91" creationId="{32B51097-B84F-CC31-6BD1-4DE22BB0FFB6}"/>
          </ac:spMkLst>
        </pc:spChg>
        <pc:spChg chg="mod">
          <ac:chgData name="Thomas Stensitzki" userId="75cafe6b-2f2a-469b-85c4-eec3b9c972ba" providerId="ADAL" clId="{9C6FE5FE-931F-4020-9063-3CD210EE2AD2}" dt="2022-09-02T08:53:07.446" v="447" actId="790"/>
          <ac:spMkLst>
            <pc:docMk/>
            <pc:sldMk cId="3207653920" sldId="722"/>
            <ac:spMk id="92" creationId="{8E441ADE-D223-06B1-B7EC-DA53C546EF53}"/>
          </ac:spMkLst>
        </pc:spChg>
        <pc:spChg chg="mod">
          <ac:chgData name="Thomas Stensitzki" userId="75cafe6b-2f2a-469b-85c4-eec3b9c972ba" providerId="ADAL" clId="{9C6FE5FE-931F-4020-9063-3CD210EE2AD2}" dt="2022-09-02T08:53:07.447" v="448" actId="790"/>
          <ac:spMkLst>
            <pc:docMk/>
            <pc:sldMk cId="3207653920" sldId="722"/>
            <ac:spMk id="93" creationId="{F475040F-8429-3087-F2E9-F2D379171C2D}"/>
          </ac:spMkLst>
        </pc:spChg>
        <pc:spChg chg="mod">
          <ac:chgData name="Thomas Stensitzki" userId="75cafe6b-2f2a-469b-85c4-eec3b9c972ba" providerId="ADAL" clId="{9C6FE5FE-931F-4020-9063-3CD210EE2AD2}" dt="2022-09-02T08:53:07.448" v="449"/>
          <ac:spMkLst>
            <pc:docMk/>
            <pc:sldMk cId="3207653920" sldId="722"/>
            <ac:spMk id="95" creationId="{1AF4594F-AD73-7DAF-8857-2EF54C046B3E}"/>
          </ac:spMkLst>
        </pc:spChg>
        <pc:spChg chg="mod">
          <ac:chgData name="Thomas Stensitzki" userId="75cafe6b-2f2a-469b-85c4-eec3b9c972ba" providerId="ADAL" clId="{9C6FE5FE-931F-4020-9063-3CD210EE2AD2}" dt="2022-09-02T08:53:07.449" v="450" actId="790"/>
          <ac:spMkLst>
            <pc:docMk/>
            <pc:sldMk cId="3207653920" sldId="722"/>
            <ac:spMk id="96" creationId="{815B4842-45AB-822D-AA23-720368F8986A}"/>
          </ac:spMkLst>
        </pc:spChg>
        <pc:spChg chg="mod">
          <ac:chgData name="Thomas Stensitzki" userId="75cafe6b-2f2a-469b-85c4-eec3b9c972ba" providerId="ADAL" clId="{9C6FE5FE-931F-4020-9063-3CD210EE2AD2}" dt="2022-09-02T08:53:07.449" v="451"/>
          <ac:spMkLst>
            <pc:docMk/>
            <pc:sldMk cId="3207653920" sldId="722"/>
            <ac:spMk id="98" creationId="{10A941C8-F41D-B45F-8DF4-D8B791C9EB5F}"/>
          </ac:spMkLst>
        </pc:spChg>
        <pc:spChg chg="mod">
          <ac:chgData name="Thomas Stensitzki" userId="75cafe6b-2f2a-469b-85c4-eec3b9c972ba" providerId="ADAL" clId="{9C6FE5FE-931F-4020-9063-3CD210EE2AD2}" dt="2022-09-02T08:53:07.450" v="452" actId="790"/>
          <ac:spMkLst>
            <pc:docMk/>
            <pc:sldMk cId="3207653920" sldId="722"/>
            <ac:spMk id="99" creationId="{E4A85D7B-D8F5-05FC-2656-D5A0D864826C}"/>
          </ac:spMkLst>
        </pc:spChg>
        <pc:spChg chg="mod">
          <ac:chgData name="Thomas Stensitzki" userId="75cafe6b-2f2a-469b-85c4-eec3b9c972ba" providerId="ADAL" clId="{9C6FE5FE-931F-4020-9063-3CD210EE2AD2}" dt="2022-09-02T08:53:07.451" v="453"/>
          <ac:spMkLst>
            <pc:docMk/>
            <pc:sldMk cId="3207653920" sldId="722"/>
            <ac:spMk id="101" creationId="{B22B45D2-6466-2DB4-1EA2-AD98AB43C8C0}"/>
          </ac:spMkLst>
        </pc:spChg>
        <pc:spChg chg="mod">
          <ac:chgData name="Thomas Stensitzki" userId="75cafe6b-2f2a-469b-85c4-eec3b9c972ba" providerId="ADAL" clId="{9C6FE5FE-931F-4020-9063-3CD210EE2AD2}" dt="2022-09-02T08:53:07.452" v="454" actId="790"/>
          <ac:spMkLst>
            <pc:docMk/>
            <pc:sldMk cId="3207653920" sldId="722"/>
            <ac:spMk id="102" creationId="{19CE7454-0EAD-BB23-41D0-B3D4EF5A40EB}"/>
          </ac:spMkLst>
        </pc:spChg>
        <pc:spChg chg="mod">
          <ac:chgData name="Thomas Stensitzki" userId="75cafe6b-2f2a-469b-85c4-eec3b9c972ba" providerId="ADAL" clId="{9C6FE5FE-931F-4020-9063-3CD210EE2AD2}" dt="2022-09-02T08:53:07.453" v="455"/>
          <ac:spMkLst>
            <pc:docMk/>
            <pc:sldMk cId="3207653920" sldId="722"/>
            <ac:spMk id="104" creationId="{048D8500-CD26-FCB6-002C-2E313BF712F9}"/>
          </ac:spMkLst>
        </pc:spChg>
        <pc:spChg chg="mod">
          <ac:chgData name="Thomas Stensitzki" userId="75cafe6b-2f2a-469b-85c4-eec3b9c972ba" providerId="ADAL" clId="{9C6FE5FE-931F-4020-9063-3CD210EE2AD2}" dt="2022-09-02T08:53:07.454" v="456" actId="790"/>
          <ac:spMkLst>
            <pc:docMk/>
            <pc:sldMk cId="3207653920" sldId="722"/>
            <ac:spMk id="105" creationId="{45A9DE99-E20B-C297-780F-4DFE52CFEE53}"/>
          </ac:spMkLst>
        </pc:spChg>
        <pc:spChg chg="mod">
          <ac:chgData name="Thomas Stensitzki" userId="75cafe6b-2f2a-469b-85c4-eec3b9c972ba" providerId="ADAL" clId="{9C6FE5FE-931F-4020-9063-3CD210EE2AD2}" dt="2022-09-02T08:53:07.455" v="457"/>
          <ac:spMkLst>
            <pc:docMk/>
            <pc:sldMk cId="3207653920" sldId="722"/>
            <ac:spMk id="106" creationId="{E3AC8ED2-E6B1-E6D2-FDB4-DAA48BEB1136}"/>
          </ac:spMkLst>
        </pc:spChg>
        <pc:spChg chg="mod">
          <ac:chgData name="Thomas Stensitzki" userId="75cafe6b-2f2a-469b-85c4-eec3b9c972ba" providerId="ADAL" clId="{9C6FE5FE-931F-4020-9063-3CD210EE2AD2}" dt="2022-09-02T08:53:07.456" v="458"/>
          <ac:spMkLst>
            <pc:docMk/>
            <pc:sldMk cId="3207653920" sldId="722"/>
            <ac:spMk id="107" creationId="{4A52AD06-0617-97AC-134F-A04E04068939}"/>
          </ac:spMkLst>
        </pc:spChg>
        <pc:spChg chg="mod">
          <ac:chgData name="Thomas Stensitzki" userId="75cafe6b-2f2a-469b-85c4-eec3b9c972ba" providerId="ADAL" clId="{9C6FE5FE-931F-4020-9063-3CD210EE2AD2}" dt="2022-09-02T08:53:07.457" v="459" actId="790"/>
          <ac:spMkLst>
            <pc:docMk/>
            <pc:sldMk cId="3207653920" sldId="722"/>
            <ac:spMk id="109" creationId="{E101EA84-E51D-BA4A-1DEF-004476C0CE38}"/>
          </ac:spMkLst>
        </pc:spChg>
        <pc:spChg chg="mod">
          <ac:chgData name="Thomas Stensitzki" userId="75cafe6b-2f2a-469b-85c4-eec3b9c972ba" providerId="ADAL" clId="{9C6FE5FE-931F-4020-9063-3CD210EE2AD2}" dt="2022-09-02T08:53:07.458" v="460" actId="790"/>
          <ac:spMkLst>
            <pc:docMk/>
            <pc:sldMk cId="3207653920" sldId="722"/>
            <ac:spMk id="110" creationId="{96C762B5-5A89-0189-7690-56627E829529}"/>
          </ac:spMkLst>
        </pc:spChg>
        <pc:spChg chg="mod">
          <ac:chgData name="Thomas Stensitzki" userId="75cafe6b-2f2a-469b-85c4-eec3b9c972ba" providerId="ADAL" clId="{9C6FE5FE-931F-4020-9063-3CD210EE2AD2}" dt="2022-09-02T08:53:07.461" v="461" actId="790"/>
          <ac:spMkLst>
            <pc:docMk/>
            <pc:sldMk cId="3207653920" sldId="722"/>
            <ac:spMk id="111" creationId="{FCFB8C69-12FF-1155-7C9D-1BE897B4E0B4}"/>
          </ac:spMkLst>
        </pc:spChg>
        <pc:spChg chg="mod">
          <ac:chgData name="Thomas Stensitzki" userId="75cafe6b-2f2a-469b-85c4-eec3b9c972ba" providerId="ADAL" clId="{9C6FE5FE-931F-4020-9063-3CD210EE2AD2}" dt="2022-09-02T08:53:07.464" v="462" actId="790"/>
          <ac:spMkLst>
            <pc:docMk/>
            <pc:sldMk cId="3207653920" sldId="722"/>
            <ac:spMk id="112" creationId="{3A68E74F-B4EC-CC1D-5073-971336E4FEA9}"/>
          </ac:spMkLst>
        </pc:spChg>
        <pc:spChg chg="mod">
          <ac:chgData name="Thomas Stensitzki" userId="75cafe6b-2f2a-469b-85c4-eec3b9c972ba" providerId="ADAL" clId="{9C6FE5FE-931F-4020-9063-3CD210EE2AD2}" dt="2022-09-02T08:53:07.468" v="465" actId="790"/>
          <ac:spMkLst>
            <pc:docMk/>
            <pc:sldMk cId="3207653920" sldId="722"/>
            <ac:spMk id="114" creationId="{4AF68BE1-FDAA-97E1-33D2-2902655129AD}"/>
          </ac:spMkLst>
        </pc:spChg>
        <pc:spChg chg="mod">
          <ac:chgData name="Thomas Stensitzki" userId="75cafe6b-2f2a-469b-85c4-eec3b9c972ba" providerId="ADAL" clId="{9C6FE5FE-931F-4020-9063-3CD210EE2AD2}" dt="2022-09-02T08:53:07.471" v="466" actId="790"/>
          <ac:spMkLst>
            <pc:docMk/>
            <pc:sldMk cId="3207653920" sldId="722"/>
            <ac:spMk id="115" creationId="{350C8E43-D3B4-F64C-12EA-9EFB33DC2699}"/>
          </ac:spMkLst>
        </pc:spChg>
        <pc:spChg chg="mod">
          <ac:chgData name="Thomas Stensitzki" userId="75cafe6b-2f2a-469b-85c4-eec3b9c972ba" providerId="ADAL" clId="{9C6FE5FE-931F-4020-9063-3CD210EE2AD2}" dt="2022-09-02T08:53:07.474" v="469" actId="790"/>
          <ac:spMkLst>
            <pc:docMk/>
            <pc:sldMk cId="3207653920" sldId="722"/>
            <ac:spMk id="117" creationId="{8B164A5E-F860-47A1-FF30-516266A8151E}"/>
          </ac:spMkLst>
        </pc:spChg>
        <pc:spChg chg="mod">
          <ac:chgData name="Thomas Stensitzki" userId="75cafe6b-2f2a-469b-85c4-eec3b9c972ba" providerId="ADAL" clId="{9C6FE5FE-931F-4020-9063-3CD210EE2AD2}" dt="2022-09-02T08:53:07.477" v="470" actId="790"/>
          <ac:spMkLst>
            <pc:docMk/>
            <pc:sldMk cId="3207653920" sldId="722"/>
            <ac:spMk id="118" creationId="{D12E92ED-2781-BA7D-6204-DA5BA04C7E7F}"/>
          </ac:spMkLst>
        </pc:spChg>
        <pc:spChg chg="mod">
          <ac:chgData name="Thomas Stensitzki" userId="75cafe6b-2f2a-469b-85c4-eec3b9c972ba" providerId="ADAL" clId="{9C6FE5FE-931F-4020-9063-3CD210EE2AD2}" dt="2022-09-02T08:53:07.478" v="471" actId="790"/>
          <ac:spMkLst>
            <pc:docMk/>
            <pc:sldMk cId="3207653920" sldId="722"/>
            <ac:spMk id="119" creationId="{9F20FC53-FB87-2FCC-8B41-5E82A29F1C26}"/>
          </ac:spMkLst>
        </pc:spChg>
        <pc:spChg chg="mod">
          <ac:chgData name="Thomas Stensitzki" userId="75cafe6b-2f2a-469b-85c4-eec3b9c972ba" providerId="ADAL" clId="{9C6FE5FE-931F-4020-9063-3CD210EE2AD2}" dt="2022-09-02T08:53:07.479" v="472" actId="790"/>
          <ac:spMkLst>
            <pc:docMk/>
            <pc:sldMk cId="3207653920" sldId="722"/>
            <ac:spMk id="120" creationId="{BFF2EE17-DF68-4005-F7B7-CA82FA6F20E2}"/>
          </ac:spMkLst>
        </pc:spChg>
        <pc:spChg chg="mod">
          <ac:chgData name="Thomas Stensitzki" userId="75cafe6b-2f2a-469b-85c4-eec3b9c972ba" providerId="ADAL" clId="{9C6FE5FE-931F-4020-9063-3CD210EE2AD2}" dt="2022-09-02T08:53:07.482" v="473" actId="790"/>
          <ac:spMkLst>
            <pc:docMk/>
            <pc:sldMk cId="3207653920" sldId="722"/>
            <ac:spMk id="121" creationId="{74E745F5-3328-C0CC-B613-E23AF9FC0038}"/>
          </ac:spMkLst>
        </pc:spChg>
        <pc:spChg chg="mod">
          <ac:chgData name="Thomas Stensitzki" userId="75cafe6b-2f2a-469b-85c4-eec3b9c972ba" providerId="ADAL" clId="{9C6FE5FE-931F-4020-9063-3CD210EE2AD2}" dt="2022-09-02T08:53:07.486" v="474" actId="790"/>
          <ac:spMkLst>
            <pc:docMk/>
            <pc:sldMk cId="3207653920" sldId="722"/>
            <ac:spMk id="122" creationId="{E0F6060B-ADD8-572B-F5C4-F1B1864CA718}"/>
          </ac:spMkLst>
        </pc:spChg>
        <pc:spChg chg="mod">
          <ac:chgData name="Thomas Stensitzki" userId="75cafe6b-2f2a-469b-85c4-eec3b9c972ba" providerId="ADAL" clId="{9C6FE5FE-931F-4020-9063-3CD210EE2AD2}" dt="2022-09-02T08:53:07.471" v="467" actId="790"/>
          <ac:spMkLst>
            <pc:docMk/>
            <pc:sldMk cId="3207653920" sldId="722"/>
            <ac:spMk id="123" creationId="{99A63A77-D35F-F8B9-C347-E8FB43BB16C8}"/>
          </ac:spMkLst>
        </pc:spChg>
        <pc:spChg chg="mod">
          <ac:chgData name="Thomas Stensitzki" userId="75cafe6b-2f2a-469b-85c4-eec3b9c972ba" providerId="ADAL" clId="{9C6FE5FE-931F-4020-9063-3CD210EE2AD2}" dt="2022-09-02T08:53:07.472" v="468" actId="790"/>
          <ac:spMkLst>
            <pc:docMk/>
            <pc:sldMk cId="3207653920" sldId="722"/>
            <ac:spMk id="124" creationId="{D4197482-AE3D-1600-320E-9DEB3838B91D}"/>
          </ac:spMkLst>
        </pc:spChg>
        <pc:spChg chg="mod">
          <ac:chgData name="Thomas Stensitzki" userId="75cafe6b-2f2a-469b-85c4-eec3b9c972ba" providerId="ADAL" clId="{9C6FE5FE-931F-4020-9063-3CD210EE2AD2}" dt="2022-09-02T08:53:07.465" v="463" actId="790"/>
          <ac:spMkLst>
            <pc:docMk/>
            <pc:sldMk cId="3207653920" sldId="722"/>
            <ac:spMk id="125" creationId="{9D8C90CA-FAE9-BF61-0EC6-6DB22C86367F}"/>
          </ac:spMkLst>
        </pc:spChg>
        <pc:spChg chg="mod">
          <ac:chgData name="Thomas Stensitzki" userId="75cafe6b-2f2a-469b-85c4-eec3b9c972ba" providerId="ADAL" clId="{9C6FE5FE-931F-4020-9063-3CD210EE2AD2}" dt="2022-09-02T08:53:07.465" v="464" actId="790"/>
          <ac:spMkLst>
            <pc:docMk/>
            <pc:sldMk cId="3207653920" sldId="722"/>
            <ac:spMk id="126" creationId="{FFD51A01-B2EE-EB6E-75FF-667DC6ACC029}"/>
          </ac:spMkLst>
        </pc:spChg>
      </pc:sldChg>
      <pc:sldChg chg="modSp del mod ord modTransition modNotes">
        <pc:chgData name="Thomas Stensitzki" userId="75cafe6b-2f2a-469b-85c4-eec3b9c972ba" providerId="ADAL" clId="{9C6FE5FE-931F-4020-9063-3CD210EE2AD2}" dt="2022-09-10T16:46:26.594" v="3913" actId="47"/>
        <pc:sldMkLst>
          <pc:docMk/>
          <pc:sldMk cId="639843224" sldId="723"/>
        </pc:sldMkLst>
        <pc:spChg chg="mod">
          <ac:chgData name="Thomas Stensitzki" userId="75cafe6b-2f2a-469b-85c4-eec3b9c972ba" providerId="ADAL" clId="{9C6FE5FE-931F-4020-9063-3CD210EE2AD2}" dt="2022-09-02T08:53:07.221" v="325" actId="790"/>
          <ac:spMkLst>
            <pc:docMk/>
            <pc:sldMk cId="639843224" sldId="723"/>
            <ac:spMk id="2" creationId="{A21357CB-9306-DFF7-B7FE-585831EF72BA}"/>
          </ac:spMkLst>
        </pc:spChg>
      </pc:sldChg>
      <pc:sldChg chg="modSp del mod ord modTransition modNotes">
        <pc:chgData name="Thomas Stensitzki" userId="75cafe6b-2f2a-469b-85c4-eec3b9c972ba" providerId="ADAL" clId="{9C6FE5FE-931F-4020-9063-3CD210EE2AD2}" dt="2022-09-10T16:46:26.594" v="3913" actId="47"/>
        <pc:sldMkLst>
          <pc:docMk/>
          <pc:sldMk cId="2498041681" sldId="724"/>
        </pc:sldMkLst>
        <pc:spChg chg="mod">
          <ac:chgData name="Thomas Stensitzki" userId="75cafe6b-2f2a-469b-85c4-eec3b9c972ba" providerId="ADAL" clId="{9C6FE5FE-931F-4020-9063-3CD210EE2AD2}" dt="2022-09-02T08:53:07.206" v="319" actId="790"/>
          <ac:spMkLst>
            <pc:docMk/>
            <pc:sldMk cId="2498041681" sldId="724"/>
            <ac:spMk id="2" creationId="{27F09F17-C78F-C617-4205-46DC1C80A1AF}"/>
          </ac:spMkLst>
        </pc:spChg>
      </pc:sldChg>
      <pc:sldChg chg="modSp del mod ord modTransition modNotes">
        <pc:chgData name="Thomas Stensitzki" userId="75cafe6b-2f2a-469b-85c4-eec3b9c972ba" providerId="ADAL" clId="{9C6FE5FE-931F-4020-9063-3CD210EE2AD2}" dt="2022-09-10T16:46:26.594" v="3913" actId="47"/>
        <pc:sldMkLst>
          <pc:docMk/>
          <pc:sldMk cId="3556749551" sldId="725"/>
        </pc:sldMkLst>
        <pc:spChg chg="mod">
          <ac:chgData name="Thomas Stensitzki" userId="75cafe6b-2f2a-469b-85c4-eec3b9c972ba" providerId="ADAL" clId="{9C6FE5FE-931F-4020-9063-3CD210EE2AD2}" dt="2022-09-02T08:53:07.213" v="322" actId="790"/>
          <ac:spMkLst>
            <pc:docMk/>
            <pc:sldMk cId="3556749551" sldId="725"/>
            <ac:spMk id="2" creationId="{27F09F17-C78F-C617-4205-46DC1C80A1AF}"/>
          </ac:spMkLst>
        </pc:spChg>
      </pc:sldChg>
      <pc:sldChg chg="modSp del mod modTransition modNotes">
        <pc:chgData name="Thomas Stensitzki" userId="75cafe6b-2f2a-469b-85c4-eec3b9c972ba" providerId="ADAL" clId="{9C6FE5FE-931F-4020-9063-3CD210EE2AD2}" dt="2022-09-10T16:46:26.594" v="3913" actId="47"/>
        <pc:sldMkLst>
          <pc:docMk/>
          <pc:sldMk cId="457999305" sldId="726"/>
        </pc:sldMkLst>
        <pc:spChg chg="mod">
          <ac:chgData name="Thomas Stensitzki" userId="75cafe6b-2f2a-469b-85c4-eec3b9c972ba" providerId="ADAL" clId="{9C6FE5FE-931F-4020-9063-3CD210EE2AD2}" dt="2022-09-02T08:53:07.493" v="477" actId="790"/>
          <ac:spMkLst>
            <pc:docMk/>
            <pc:sldMk cId="457999305" sldId="726"/>
            <ac:spMk id="4" creationId="{1CB694C5-4170-5555-43EF-8A61BFA253FE}"/>
          </ac:spMkLst>
        </pc:spChg>
        <pc:spChg chg="mod">
          <ac:chgData name="Thomas Stensitzki" userId="75cafe6b-2f2a-469b-85c4-eec3b9c972ba" providerId="ADAL" clId="{9C6FE5FE-931F-4020-9063-3CD210EE2AD2}" dt="2022-09-02T08:53:07.496" v="478"/>
          <ac:spMkLst>
            <pc:docMk/>
            <pc:sldMk cId="457999305" sldId="726"/>
            <ac:spMk id="30" creationId="{353F4E78-DFD4-5579-5BA3-85533BB287A5}"/>
          </ac:spMkLst>
        </pc:spChg>
        <pc:spChg chg="mod">
          <ac:chgData name="Thomas Stensitzki" userId="75cafe6b-2f2a-469b-85c4-eec3b9c972ba" providerId="ADAL" clId="{9C6FE5FE-931F-4020-9063-3CD210EE2AD2}" dt="2022-09-02T08:53:07.497" v="479" actId="790"/>
          <ac:spMkLst>
            <pc:docMk/>
            <pc:sldMk cId="457999305" sldId="726"/>
            <ac:spMk id="32" creationId="{3278DC1B-29CB-317B-5C4E-8B85D8C1B220}"/>
          </ac:spMkLst>
        </pc:spChg>
        <pc:spChg chg="mod">
          <ac:chgData name="Thomas Stensitzki" userId="75cafe6b-2f2a-469b-85c4-eec3b9c972ba" providerId="ADAL" clId="{9C6FE5FE-931F-4020-9063-3CD210EE2AD2}" dt="2022-09-02T08:53:07.500" v="480" actId="790"/>
          <ac:spMkLst>
            <pc:docMk/>
            <pc:sldMk cId="457999305" sldId="726"/>
            <ac:spMk id="33" creationId="{E4CECCDD-11CB-3DAC-8C9D-E6760E6BF752}"/>
          </ac:spMkLst>
        </pc:spChg>
        <pc:spChg chg="mod">
          <ac:chgData name="Thomas Stensitzki" userId="75cafe6b-2f2a-469b-85c4-eec3b9c972ba" providerId="ADAL" clId="{9C6FE5FE-931F-4020-9063-3CD210EE2AD2}" dt="2022-09-02T08:53:07.501" v="481" actId="790"/>
          <ac:spMkLst>
            <pc:docMk/>
            <pc:sldMk cId="457999305" sldId="726"/>
            <ac:spMk id="35" creationId="{2619F536-530F-9718-48ED-A2C000B509A1}"/>
          </ac:spMkLst>
        </pc:spChg>
        <pc:spChg chg="mod">
          <ac:chgData name="Thomas Stensitzki" userId="75cafe6b-2f2a-469b-85c4-eec3b9c972ba" providerId="ADAL" clId="{9C6FE5FE-931F-4020-9063-3CD210EE2AD2}" dt="2022-09-02T08:53:07.502" v="482" actId="790"/>
          <ac:spMkLst>
            <pc:docMk/>
            <pc:sldMk cId="457999305" sldId="726"/>
            <ac:spMk id="36" creationId="{1AAEA81C-8E6C-D1A5-FA1C-B7D7B16CA90E}"/>
          </ac:spMkLst>
        </pc:spChg>
        <pc:spChg chg="mod">
          <ac:chgData name="Thomas Stensitzki" userId="75cafe6b-2f2a-469b-85c4-eec3b9c972ba" providerId="ADAL" clId="{9C6FE5FE-931F-4020-9063-3CD210EE2AD2}" dt="2022-09-02T08:53:07.503" v="483" actId="790"/>
          <ac:spMkLst>
            <pc:docMk/>
            <pc:sldMk cId="457999305" sldId="726"/>
            <ac:spMk id="38" creationId="{18F5C3BA-8019-C450-65BA-DE61E30B4B3C}"/>
          </ac:spMkLst>
        </pc:spChg>
        <pc:spChg chg="mod">
          <ac:chgData name="Thomas Stensitzki" userId="75cafe6b-2f2a-469b-85c4-eec3b9c972ba" providerId="ADAL" clId="{9C6FE5FE-931F-4020-9063-3CD210EE2AD2}" dt="2022-09-02T08:53:07.504" v="484" actId="790"/>
          <ac:spMkLst>
            <pc:docMk/>
            <pc:sldMk cId="457999305" sldId="726"/>
            <ac:spMk id="39" creationId="{B1305636-350C-B814-A58E-9E2B8348E20C}"/>
          </ac:spMkLst>
        </pc:spChg>
        <pc:spChg chg="mod">
          <ac:chgData name="Thomas Stensitzki" userId="75cafe6b-2f2a-469b-85c4-eec3b9c972ba" providerId="ADAL" clId="{9C6FE5FE-931F-4020-9063-3CD210EE2AD2}" dt="2022-09-02T08:53:07.505" v="485" actId="790"/>
          <ac:spMkLst>
            <pc:docMk/>
            <pc:sldMk cId="457999305" sldId="726"/>
            <ac:spMk id="41" creationId="{06321166-1D3B-FF78-B18B-751DC6421473}"/>
          </ac:spMkLst>
        </pc:spChg>
        <pc:spChg chg="mod">
          <ac:chgData name="Thomas Stensitzki" userId="75cafe6b-2f2a-469b-85c4-eec3b9c972ba" providerId="ADAL" clId="{9C6FE5FE-931F-4020-9063-3CD210EE2AD2}" dt="2022-09-02T08:53:07.506" v="486" actId="790"/>
          <ac:spMkLst>
            <pc:docMk/>
            <pc:sldMk cId="457999305" sldId="726"/>
            <ac:spMk id="42" creationId="{F04AF581-7EB0-2BB5-C9D9-EF99D47DE5D1}"/>
          </ac:spMkLst>
        </pc:spChg>
        <pc:spChg chg="mod">
          <ac:chgData name="Thomas Stensitzki" userId="75cafe6b-2f2a-469b-85c4-eec3b9c972ba" providerId="ADAL" clId="{9C6FE5FE-931F-4020-9063-3CD210EE2AD2}" dt="2022-09-02T08:53:07.507" v="487" actId="790"/>
          <ac:spMkLst>
            <pc:docMk/>
            <pc:sldMk cId="457999305" sldId="726"/>
            <ac:spMk id="44" creationId="{B04C4BC0-E34E-CF14-F377-4ACB0D238330}"/>
          </ac:spMkLst>
        </pc:spChg>
        <pc:spChg chg="mod">
          <ac:chgData name="Thomas Stensitzki" userId="75cafe6b-2f2a-469b-85c4-eec3b9c972ba" providerId="ADAL" clId="{9C6FE5FE-931F-4020-9063-3CD210EE2AD2}" dt="2022-09-02T08:53:07.508" v="488" actId="790"/>
          <ac:spMkLst>
            <pc:docMk/>
            <pc:sldMk cId="457999305" sldId="726"/>
            <ac:spMk id="45" creationId="{94B51C92-2B2B-D859-B6FE-761DB495CDCD}"/>
          </ac:spMkLst>
        </pc:spChg>
        <pc:spChg chg="mod">
          <ac:chgData name="Thomas Stensitzki" userId="75cafe6b-2f2a-469b-85c4-eec3b9c972ba" providerId="ADAL" clId="{9C6FE5FE-931F-4020-9063-3CD210EE2AD2}" dt="2022-09-02T08:53:07.509" v="489" actId="790"/>
          <ac:spMkLst>
            <pc:docMk/>
            <pc:sldMk cId="457999305" sldId="726"/>
            <ac:spMk id="47" creationId="{E7EC3365-F8DB-00FD-A53C-F121E8F8311A}"/>
          </ac:spMkLst>
        </pc:spChg>
        <pc:spChg chg="mod">
          <ac:chgData name="Thomas Stensitzki" userId="75cafe6b-2f2a-469b-85c4-eec3b9c972ba" providerId="ADAL" clId="{9C6FE5FE-931F-4020-9063-3CD210EE2AD2}" dt="2022-09-02T08:53:07.510" v="490" actId="790"/>
          <ac:spMkLst>
            <pc:docMk/>
            <pc:sldMk cId="457999305" sldId="726"/>
            <ac:spMk id="48" creationId="{FCA2EF11-BA76-D2DA-3F8F-C8EE3FF6AC99}"/>
          </ac:spMkLst>
        </pc:spChg>
        <pc:spChg chg="mod">
          <ac:chgData name="Thomas Stensitzki" userId="75cafe6b-2f2a-469b-85c4-eec3b9c972ba" providerId="ADAL" clId="{9C6FE5FE-931F-4020-9063-3CD210EE2AD2}" dt="2022-09-02T08:53:07.511" v="491" actId="790"/>
          <ac:spMkLst>
            <pc:docMk/>
            <pc:sldMk cId="457999305" sldId="726"/>
            <ac:spMk id="50" creationId="{37F09E4E-46BF-084F-CEB0-C527EAAC819C}"/>
          </ac:spMkLst>
        </pc:spChg>
        <pc:spChg chg="mod">
          <ac:chgData name="Thomas Stensitzki" userId="75cafe6b-2f2a-469b-85c4-eec3b9c972ba" providerId="ADAL" clId="{9C6FE5FE-931F-4020-9063-3CD210EE2AD2}" dt="2022-09-02T08:53:07.511" v="492" actId="790"/>
          <ac:spMkLst>
            <pc:docMk/>
            <pc:sldMk cId="457999305" sldId="726"/>
            <ac:spMk id="51" creationId="{276162C8-0DE4-48BB-8CD4-875914EAF7DB}"/>
          </ac:spMkLst>
        </pc:spChg>
        <pc:spChg chg="mod">
          <ac:chgData name="Thomas Stensitzki" userId="75cafe6b-2f2a-469b-85c4-eec3b9c972ba" providerId="ADAL" clId="{9C6FE5FE-931F-4020-9063-3CD210EE2AD2}" dt="2022-09-02T08:53:07.512" v="493" actId="790"/>
          <ac:spMkLst>
            <pc:docMk/>
            <pc:sldMk cId="457999305" sldId="726"/>
            <ac:spMk id="53" creationId="{3C061244-DB72-5AE5-4F90-43CFD8A215D9}"/>
          </ac:spMkLst>
        </pc:spChg>
        <pc:spChg chg="mod">
          <ac:chgData name="Thomas Stensitzki" userId="75cafe6b-2f2a-469b-85c4-eec3b9c972ba" providerId="ADAL" clId="{9C6FE5FE-931F-4020-9063-3CD210EE2AD2}" dt="2022-09-02T08:53:07.513" v="494" actId="790"/>
          <ac:spMkLst>
            <pc:docMk/>
            <pc:sldMk cId="457999305" sldId="726"/>
            <ac:spMk id="54" creationId="{8A1D14FC-01DD-3DF6-81BF-B29273DC6E74}"/>
          </ac:spMkLst>
        </pc:spChg>
      </pc:sldChg>
      <pc:sldChg chg="modSp del mod ord modTransition modNotes">
        <pc:chgData name="Thomas Stensitzki" userId="75cafe6b-2f2a-469b-85c4-eec3b9c972ba" providerId="ADAL" clId="{9C6FE5FE-931F-4020-9063-3CD210EE2AD2}" dt="2022-09-10T14:59:05.272" v="1136" actId="47"/>
        <pc:sldMkLst>
          <pc:docMk/>
          <pc:sldMk cId="4144892352" sldId="727"/>
        </pc:sldMkLst>
        <pc:spChg chg="mod">
          <ac:chgData name="Thomas Stensitzki" userId="75cafe6b-2f2a-469b-85c4-eec3b9c972ba" providerId="ADAL" clId="{9C6FE5FE-931F-4020-9063-3CD210EE2AD2}" dt="2022-09-02T08:53:07.231" v="328" actId="790"/>
          <ac:spMkLst>
            <pc:docMk/>
            <pc:sldMk cId="4144892352" sldId="727"/>
            <ac:spMk id="2" creationId="{70FD9002-891C-319C-4A7D-5ACB9CA511AC}"/>
          </ac:spMkLst>
        </pc:spChg>
      </pc:sldChg>
      <pc:sldChg chg="modSp add mod ord modTransition modNotes">
        <pc:chgData name="Thomas Stensitzki" userId="75cafe6b-2f2a-469b-85c4-eec3b9c972ba" providerId="ADAL" clId="{9C6FE5FE-931F-4020-9063-3CD210EE2AD2}" dt="2022-09-10T15:03:52.314" v="1150"/>
        <pc:sldMkLst>
          <pc:docMk/>
          <pc:sldMk cId="2421439507" sldId="728"/>
        </pc:sldMkLst>
        <pc:spChg chg="mod">
          <ac:chgData name="Thomas Stensitzki" userId="75cafe6b-2f2a-469b-85c4-eec3b9c972ba" providerId="ADAL" clId="{9C6FE5FE-931F-4020-9063-3CD210EE2AD2}" dt="2022-09-02T08:53:07.170" v="304" actId="790"/>
          <ac:spMkLst>
            <pc:docMk/>
            <pc:sldMk cId="2421439507" sldId="728"/>
            <ac:spMk id="2" creationId="{7262A795-AAF1-319D-DC9F-6228E231F250}"/>
          </ac:spMkLst>
        </pc:spChg>
        <pc:spChg chg="mod">
          <ac:chgData name="Thomas Stensitzki" userId="75cafe6b-2f2a-469b-85c4-eec3b9c972ba" providerId="ADAL" clId="{9C6FE5FE-931F-4020-9063-3CD210EE2AD2}" dt="2022-09-10T15:02:55.247" v="1148" actId="20577"/>
          <ac:spMkLst>
            <pc:docMk/>
            <pc:sldMk cId="2421439507" sldId="728"/>
            <ac:spMk id="3" creationId="{E787C40D-FB3A-794D-722F-A25C53C119FE}"/>
          </ac:spMkLst>
        </pc:spChg>
      </pc:sldChg>
      <pc:sldChg chg="addSp delSp modSp new mod modTransition modClrScheme modAnim chgLayout modNotes">
        <pc:chgData name="Thomas Stensitzki" userId="75cafe6b-2f2a-469b-85c4-eec3b9c972ba" providerId="ADAL" clId="{9C6FE5FE-931F-4020-9063-3CD210EE2AD2}" dt="2022-09-10T15:03:20.179" v="1149"/>
        <pc:sldMkLst>
          <pc:docMk/>
          <pc:sldMk cId="4269261518" sldId="729"/>
        </pc:sldMkLst>
        <pc:spChg chg="del mod ord">
          <ac:chgData name="Thomas Stensitzki" userId="75cafe6b-2f2a-469b-85c4-eec3b9c972ba" providerId="ADAL" clId="{9C6FE5FE-931F-4020-9063-3CD210EE2AD2}" dt="2022-09-02T08:35:23.362" v="217" actId="700"/>
          <ac:spMkLst>
            <pc:docMk/>
            <pc:sldMk cId="4269261518" sldId="729"/>
            <ac:spMk id="2" creationId="{6C76F78D-C439-DEEB-6971-71676A21A08B}"/>
          </ac:spMkLst>
        </pc:spChg>
        <pc:spChg chg="del mod ord">
          <ac:chgData name="Thomas Stensitzki" userId="75cafe6b-2f2a-469b-85c4-eec3b9c972ba" providerId="ADAL" clId="{9C6FE5FE-931F-4020-9063-3CD210EE2AD2}" dt="2022-09-02T08:35:23.362" v="217" actId="700"/>
          <ac:spMkLst>
            <pc:docMk/>
            <pc:sldMk cId="4269261518" sldId="729"/>
            <ac:spMk id="3" creationId="{78BD7736-8689-648A-DC03-8D9EB7CD2E9B}"/>
          </ac:spMkLst>
        </pc:spChg>
        <pc:spChg chg="add mod ord">
          <ac:chgData name="Thomas Stensitzki" userId="75cafe6b-2f2a-469b-85c4-eec3b9c972ba" providerId="ADAL" clId="{9C6FE5FE-931F-4020-9063-3CD210EE2AD2}" dt="2022-09-10T14:51:48.183" v="1127" actId="20577"/>
          <ac:spMkLst>
            <pc:docMk/>
            <pc:sldMk cId="4269261518" sldId="729"/>
            <ac:spMk id="4" creationId="{51EA3F20-7D93-4417-719A-8B15E76A25F8}"/>
          </ac:spMkLst>
        </pc:spChg>
        <pc:spChg chg="add mod ord">
          <ac:chgData name="Thomas Stensitzki" userId="75cafe6b-2f2a-469b-85c4-eec3b9c972ba" providerId="ADAL" clId="{9C6FE5FE-931F-4020-9063-3CD210EE2AD2}" dt="2022-09-09T18:00:38.919" v="948" actId="15"/>
          <ac:spMkLst>
            <pc:docMk/>
            <pc:sldMk cId="4269261518" sldId="729"/>
            <ac:spMk id="5" creationId="{C814742B-E2A7-FF80-4F7B-F57A485E46C6}"/>
          </ac:spMkLst>
        </pc:spChg>
      </pc:sldChg>
      <pc:sldChg chg="addSp delSp modSp new mod modTransition modAnim modNotes">
        <pc:chgData name="Thomas Stensitzki" userId="75cafe6b-2f2a-469b-85c4-eec3b9c972ba" providerId="ADAL" clId="{9C6FE5FE-931F-4020-9063-3CD210EE2AD2}" dt="2022-09-09T18:02:52.448" v="960"/>
        <pc:sldMkLst>
          <pc:docMk/>
          <pc:sldMk cId="2925556573" sldId="730"/>
        </pc:sldMkLst>
        <pc:spChg chg="mod">
          <ac:chgData name="Thomas Stensitzki" userId="75cafe6b-2f2a-469b-85c4-eec3b9c972ba" providerId="ADAL" clId="{9C6FE5FE-931F-4020-9063-3CD210EE2AD2}" dt="2022-09-02T08:53:07.152" v="296" actId="790"/>
          <ac:spMkLst>
            <pc:docMk/>
            <pc:sldMk cId="2925556573" sldId="730"/>
            <ac:spMk id="2" creationId="{8D023C51-2C93-13E8-4175-9826B4C239FC}"/>
          </ac:spMkLst>
        </pc:spChg>
        <pc:spChg chg="del">
          <ac:chgData name="Thomas Stensitzki" userId="75cafe6b-2f2a-469b-85c4-eec3b9c972ba" providerId="ADAL" clId="{9C6FE5FE-931F-4020-9063-3CD210EE2AD2}" dt="2022-09-02T08:44:58.284" v="239" actId="478"/>
          <ac:spMkLst>
            <pc:docMk/>
            <pc:sldMk cId="2925556573" sldId="730"/>
            <ac:spMk id="3" creationId="{4415EC0C-8EF7-6B8C-6E47-CC65939B0983}"/>
          </ac:spMkLst>
        </pc:spChg>
        <pc:spChg chg="add mod">
          <ac:chgData name="Thomas Stensitzki" userId="75cafe6b-2f2a-469b-85c4-eec3b9c972ba" providerId="ADAL" clId="{9C6FE5FE-931F-4020-9063-3CD210EE2AD2}" dt="2022-09-09T18:02:33.488" v="959" actId="14100"/>
          <ac:spMkLst>
            <pc:docMk/>
            <pc:sldMk cId="2925556573" sldId="730"/>
            <ac:spMk id="4" creationId="{2D7D75EA-4AEB-9358-D665-E24FE735DCE7}"/>
          </ac:spMkLst>
        </pc:spChg>
        <pc:picChg chg="add mod">
          <ac:chgData name="Thomas Stensitzki" userId="75cafe6b-2f2a-469b-85c4-eec3b9c972ba" providerId="ADAL" clId="{9C6FE5FE-931F-4020-9063-3CD210EE2AD2}" dt="2022-09-09T18:01:04.488" v="953" actId="1076"/>
          <ac:picMkLst>
            <pc:docMk/>
            <pc:sldMk cId="2925556573" sldId="730"/>
            <ac:picMk id="5" creationId="{EBBA6BAC-B45C-8391-FEBD-070DB3647775}"/>
          </ac:picMkLst>
        </pc:picChg>
      </pc:sldChg>
      <pc:sldChg chg="addSp delSp modSp new mod modTransition modClrScheme modAnim chgLayout modNotes">
        <pc:chgData name="Thomas Stensitzki" userId="75cafe6b-2f2a-469b-85c4-eec3b9c972ba" providerId="ADAL" clId="{9C6FE5FE-931F-4020-9063-3CD210EE2AD2}" dt="2022-09-10T15:06:14.204" v="1256" actId="20577"/>
        <pc:sldMkLst>
          <pc:docMk/>
          <pc:sldMk cId="553816159" sldId="731"/>
        </pc:sldMkLst>
        <pc:spChg chg="del mod ord">
          <ac:chgData name="Thomas Stensitzki" userId="75cafe6b-2f2a-469b-85c4-eec3b9c972ba" providerId="ADAL" clId="{9C6FE5FE-931F-4020-9063-3CD210EE2AD2}" dt="2022-09-02T08:46:13.248" v="247" actId="700"/>
          <ac:spMkLst>
            <pc:docMk/>
            <pc:sldMk cId="553816159" sldId="731"/>
            <ac:spMk id="2" creationId="{3D8400AE-3A2D-323B-34D4-4ECBF13F97AB}"/>
          </ac:spMkLst>
        </pc:spChg>
        <pc:spChg chg="del mod ord">
          <ac:chgData name="Thomas Stensitzki" userId="75cafe6b-2f2a-469b-85c4-eec3b9c972ba" providerId="ADAL" clId="{9C6FE5FE-931F-4020-9063-3CD210EE2AD2}" dt="2022-09-02T08:46:13.248" v="247" actId="700"/>
          <ac:spMkLst>
            <pc:docMk/>
            <pc:sldMk cId="553816159" sldId="731"/>
            <ac:spMk id="3" creationId="{6611E6D8-FF39-8C45-F5B7-CE64420D341D}"/>
          </ac:spMkLst>
        </pc:spChg>
        <pc:spChg chg="add mod ord">
          <ac:chgData name="Thomas Stensitzki" userId="75cafe6b-2f2a-469b-85c4-eec3b9c972ba" providerId="ADAL" clId="{9C6FE5FE-931F-4020-9063-3CD210EE2AD2}" dt="2022-09-02T08:53:27.383" v="497" actId="700"/>
          <ac:spMkLst>
            <pc:docMk/>
            <pc:sldMk cId="553816159" sldId="731"/>
            <ac:spMk id="4" creationId="{5E63A746-8726-18CB-8188-16A79138AB6C}"/>
          </ac:spMkLst>
        </pc:spChg>
        <pc:spChg chg="add del mod ord">
          <ac:chgData name="Thomas Stensitzki" userId="75cafe6b-2f2a-469b-85c4-eec3b9c972ba" providerId="ADAL" clId="{9C6FE5FE-931F-4020-9063-3CD210EE2AD2}" dt="2022-09-02T08:53:27.383" v="497" actId="700"/>
          <ac:spMkLst>
            <pc:docMk/>
            <pc:sldMk cId="553816159" sldId="731"/>
            <ac:spMk id="5" creationId="{269F77B0-0643-9E86-F87B-46C8162D953A}"/>
          </ac:spMkLst>
        </pc:spChg>
        <pc:spChg chg="add mod ord">
          <ac:chgData name="Thomas Stensitzki" userId="75cafe6b-2f2a-469b-85c4-eec3b9c972ba" providerId="ADAL" clId="{9C6FE5FE-931F-4020-9063-3CD210EE2AD2}" dt="2022-09-10T15:06:14.204" v="1256" actId="20577"/>
          <ac:spMkLst>
            <pc:docMk/>
            <pc:sldMk cId="553816159" sldId="731"/>
            <ac:spMk id="6" creationId="{94BDC1DF-E85E-FCDB-3645-C1D3F87BB099}"/>
          </ac:spMkLst>
        </pc:spChg>
        <pc:spChg chg="add del mod ord">
          <ac:chgData name="Thomas Stensitzki" userId="75cafe6b-2f2a-469b-85c4-eec3b9c972ba" providerId="ADAL" clId="{9C6FE5FE-931F-4020-9063-3CD210EE2AD2}" dt="2022-09-02T08:53:29.958" v="498" actId="478"/>
          <ac:spMkLst>
            <pc:docMk/>
            <pc:sldMk cId="553816159" sldId="731"/>
            <ac:spMk id="7" creationId="{54824563-8C10-6DC4-B84B-5D92C1A7CB95}"/>
          </ac:spMkLst>
        </pc:spChg>
        <pc:spChg chg="add mod">
          <ac:chgData name="Thomas Stensitzki" userId="75cafe6b-2f2a-469b-85c4-eec3b9c972ba" providerId="ADAL" clId="{9C6FE5FE-931F-4020-9063-3CD210EE2AD2}" dt="2022-09-02T08:54:22.761" v="503" actId="207"/>
          <ac:spMkLst>
            <pc:docMk/>
            <pc:sldMk cId="553816159" sldId="731"/>
            <ac:spMk id="8" creationId="{5ABC2D19-738F-780B-DEDF-9220CC3AAA63}"/>
          </ac:spMkLst>
        </pc:spChg>
        <pc:spChg chg="mod">
          <ac:chgData name="Thomas Stensitzki" userId="75cafe6b-2f2a-469b-85c4-eec3b9c972ba" providerId="ADAL" clId="{9C6FE5FE-931F-4020-9063-3CD210EE2AD2}" dt="2022-09-02T08:53:37.314" v="499"/>
          <ac:spMkLst>
            <pc:docMk/>
            <pc:sldMk cId="553816159" sldId="731"/>
            <ac:spMk id="13" creationId="{30F39A3D-CF6A-7C01-16AF-0E0D5C8F0746}"/>
          </ac:spMkLst>
        </pc:spChg>
        <pc:spChg chg="mod">
          <ac:chgData name="Thomas Stensitzki" userId="75cafe6b-2f2a-469b-85c4-eec3b9c972ba" providerId="ADAL" clId="{9C6FE5FE-931F-4020-9063-3CD210EE2AD2}" dt="2022-09-02T08:53:37.314" v="499"/>
          <ac:spMkLst>
            <pc:docMk/>
            <pc:sldMk cId="553816159" sldId="731"/>
            <ac:spMk id="18" creationId="{5C710BB8-ECE3-FBB0-75E0-F0897C8287CE}"/>
          </ac:spMkLst>
        </pc:spChg>
        <pc:spChg chg="mod">
          <ac:chgData name="Thomas Stensitzki" userId="75cafe6b-2f2a-469b-85c4-eec3b9c972ba" providerId="ADAL" clId="{9C6FE5FE-931F-4020-9063-3CD210EE2AD2}" dt="2022-09-02T08:53:37.314" v="499"/>
          <ac:spMkLst>
            <pc:docMk/>
            <pc:sldMk cId="553816159" sldId="731"/>
            <ac:spMk id="19" creationId="{62F22EE1-D67F-38AB-F597-5BB57C81EB3C}"/>
          </ac:spMkLst>
        </pc:spChg>
        <pc:spChg chg="add mod">
          <ac:chgData name="Thomas Stensitzki" userId="75cafe6b-2f2a-469b-85c4-eec3b9c972ba" providerId="ADAL" clId="{9C6FE5FE-931F-4020-9063-3CD210EE2AD2}" dt="2022-09-02T08:53:48.050" v="500" actId="1076"/>
          <ac:spMkLst>
            <pc:docMk/>
            <pc:sldMk cId="553816159" sldId="731"/>
            <ac:spMk id="21" creationId="{08B3218E-C577-46CD-CD6F-E046C336F5DA}"/>
          </ac:spMkLst>
        </pc:spChg>
        <pc:grpChg chg="add mod">
          <ac:chgData name="Thomas Stensitzki" userId="75cafe6b-2f2a-469b-85c4-eec3b9c972ba" providerId="ADAL" clId="{9C6FE5FE-931F-4020-9063-3CD210EE2AD2}" dt="2022-09-02T08:53:48.050" v="500" actId="1076"/>
          <ac:grpSpMkLst>
            <pc:docMk/>
            <pc:sldMk cId="553816159" sldId="731"/>
            <ac:grpSpMk id="9" creationId="{3BE86B0F-3E0E-4F83-6F06-D1425E229AD8}"/>
          </ac:grpSpMkLst>
        </pc:grpChg>
        <pc:grpChg chg="add mod">
          <ac:chgData name="Thomas Stensitzki" userId="75cafe6b-2f2a-469b-85c4-eec3b9c972ba" providerId="ADAL" clId="{9C6FE5FE-931F-4020-9063-3CD210EE2AD2}" dt="2022-09-02T08:53:48.050" v="500" actId="1076"/>
          <ac:grpSpMkLst>
            <pc:docMk/>
            <pc:sldMk cId="553816159" sldId="731"/>
            <ac:grpSpMk id="14" creationId="{1387C8D6-0F8F-8D7E-1FAB-76FC70425BD4}"/>
          </ac:grpSpMkLst>
        </pc:grpChg>
        <pc:grpChg chg="mod">
          <ac:chgData name="Thomas Stensitzki" userId="75cafe6b-2f2a-469b-85c4-eec3b9c972ba" providerId="ADAL" clId="{9C6FE5FE-931F-4020-9063-3CD210EE2AD2}" dt="2022-09-02T08:53:37.314" v="499"/>
          <ac:grpSpMkLst>
            <pc:docMk/>
            <pc:sldMk cId="553816159" sldId="731"/>
            <ac:grpSpMk id="15" creationId="{AAF22BC6-7D27-BF02-F1F4-D3ECF685D3C4}"/>
          </ac:grpSpMkLst>
        </pc:grpChg>
        <pc:grpChg chg="mod">
          <ac:chgData name="Thomas Stensitzki" userId="75cafe6b-2f2a-469b-85c4-eec3b9c972ba" providerId="ADAL" clId="{9C6FE5FE-931F-4020-9063-3CD210EE2AD2}" dt="2022-09-02T08:53:37.314" v="499"/>
          <ac:grpSpMkLst>
            <pc:docMk/>
            <pc:sldMk cId="553816159" sldId="731"/>
            <ac:grpSpMk id="16" creationId="{D16369B6-C442-8430-3151-770543C7841B}"/>
          </ac:grpSpMkLst>
        </pc:grpChg>
        <pc:picChg chg="mod">
          <ac:chgData name="Thomas Stensitzki" userId="75cafe6b-2f2a-469b-85c4-eec3b9c972ba" providerId="ADAL" clId="{9C6FE5FE-931F-4020-9063-3CD210EE2AD2}" dt="2022-09-02T08:53:37.314" v="499"/>
          <ac:picMkLst>
            <pc:docMk/>
            <pc:sldMk cId="553816159" sldId="731"/>
            <ac:picMk id="10" creationId="{4E09C1F0-99A1-667E-DB8F-D1C492BB7718}"/>
          </ac:picMkLst>
        </pc:picChg>
        <pc:picChg chg="mod">
          <ac:chgData name="Thomas Stensitzki" userId="75cafe6b-2f2a-469b-85c4-eec3b9c972ba" providerId="ADAL" clId="{9C6FE5FE-931F-4020-9063-3CD210EE2AD2}" dt="2022-09-02T08:53:37.314" v="499"/>
          <ac:picMkLst>
            <pc:docMk/>
            <pc:sldMk cId="553816159" sldId="731"/>
            <ac:picMk id="11" creationId="{8A1FBFFB-EC15-1180-800E-1324A662644E}"/>
          </ac:picMkLst>
        </pc:picChg>
        <pc:picChg chg="mod">
          <ac:chgData name="Thomas Stensitzki" userId="75cafe6b-2f2a-469b-85c4-eec3b9c972ba" providerId="ADAL" clId="{9C6FE5FE-931F-4020-9063-3CD210EE2AD2}" dt="2022-09-02T08:53:37.314" v="499"/>
          <ac:picMkLst>
            <pc:docMk/>
            <pc:sldMk cId="553816159" sldId="731"/>
            <ac:picMk id="12" creationId="{4EB426B1-0D3E-A92C-0794-9EAF71682DCB}"/>
          </ac:picMkLst>
        </pc:picChg>
        <pc:picChg chg="mod">
          <ac:chgData name="Thomas Stensitzki" userId="75cafe6b-2f2a-469b-85c4-eec3b9c972ba" providerId="ADAL" clId="{9C6FE5FE-931F-4020-9063-3CD210EE2AD2}" dt="2022-09-02T08:53:37.314" v="499"/>
          <ac:picMkLst>
            <pc:docMk/>
            <pc:sldMk cId="553816159" sldId="731"/>
            <ac:picMk id="17" creationId="{04AF3224-EA85-29B8-EE5A-B4E23402F7AC}"/>
          </ac:picMkLst>
        </pc:picChg>
        <pc:picChg chg="mod">
          <ac:chgData name="Thomas Stensitzki" userId="75cafe6b-2f2a-469b-85c4-eec3b9c972ba" providerId="ADAL" clId="{9C6FE5FE-931F-4020-9063-3CD210EE2AD2}" dt="2022-09-09T18:07:55.367" v="963" actId="1076"/>
          <ac:picMkLst>
            <pc:docMk/>
            <pc:sldMk cId="553816159" sldId="731"/>
            <ac:picMk id="20" creationId="{98008516-97B7-6E4A-AC02-453B7585DCCF}"/>
          </ac:picMkLst>
        </pc:picChg>
      </pc:sldChg>
      <pc:sldChg chg="addSp delSp modSp new mod modTransition modClrScheme modAnim chgLayout">
        <pc:chgData name="Thomas Stensitzki" userId="75cafe6b-2f2a-469b-85c4-eec3b9c972ba" providerId="ADAL" clId="{9C6FE5FE-931F-4020-9063-3CD210EE2AD2}" dt="2022-09-10T15:12:51.200" v="1328"/>
        <pc:sldMkLst>
          <pc:docMk/>
          <pc:sldMk cId="3271454933" sldId="732"/>
        </pc:sldMkLst>
        <pc:spChg chg="del mod ord">
          <ac:chgData name="Thomas Stensitzki" userId="75cafe6b-2f2a-469b-85c4-eec3b9c972ba" providerId="ADAL" clId="{9C6FE5FE-931F-4020-9063-3CD210EE2AD2}" dt="2022-09-02T08:57:36.784" v="525" actId="700"/>
          <ac:spMkLst>
            <pc:docMk/>
            <pc:sldMk cId="3271454933" sldId="732"/>
            <ac:spMk id="2" creationId="{EE58A574-9812-E3B4-9301-D608BD4677F9}"/>
          </ac:spMkLst>
        </pc:spChg>
        <pc:spChg chg="del mod ord">
          <ac:chgData name="Thomas Stensitzki" userId="75cafe6b-2f2a-469b-85c4-eec3b9c972ba" providerId="ADAL" clId="{9C6FE5FE-931F-4020-9063-3CD210EE2AD2}" dt="2022-09-02T08:57:36.784" v="525" actId="700"/>
          <ac:spMkLst>
            <pc:docMk/>
            <pc:sldMk cId="3271454933" sldId="732"/>
            <ac:spMk id="3" creationId="{778883F2-983A-E557-5FCB-12A04FEB2128}"/>
          </ac:spMkLst>
        </pc:spChg>
        <pc:spChg chg="add mod">
          <ac:chgData name="Thomas Stensitzki" userId="75cafe6b-2f2a-469b-85c4-eec3b9c972ba" providerId="ADAL" clId="{9C6FE5FE-931F-4020-9063-3CD210EE2AD2}" dt="2022-09-10T15:08:58.744" v="1301" actId="14100"/>
          <ac:spMkLst>
            <pc:docMk/>
            <pc:sldMk cId="3271454933" sldId="732"/>
            <ac:spMk id="4" creationId="{549E3021-1A67-977F-3C7F-471EFC08386C}"/>
          </ac:spMkLst>
        </pc:spChg>
        <pc:spChg chg="del">
          <ac:chgData name="Thomas Stensitzki" userId="75cafe6b-2f2a-469b-85c4-eec3b9c972ba" providerId="ADAL" clId="{9C6FE5FE-931F-4020-9063-3CD210EE2AD2}" dt="2022-09-02T08:57:36.784" v="525" actId="700"/>
          <ac:spMkLst>
            <pc:docMk/>
            <pc:sldMk cId="3271454933" sldId="732"/>
            <ac:spMk id="4" creationId="{CBEF3166-FA06-4831-9C05-089F658BC097}"/>
          </ac:spMkLst>
        </pc:spChg>
        <pc:spChg chg="add mod ord">
          <ac:chgData name="Thomas Stensitzki" userId="75cafe6b-2f2a-469b-85c4-eec3b9c972ba" providerId="ADAL" clId="{9C6FE5FE-931F-4020-9063-3CD210EE2AD2}" dt="2022-09-02T08:57:46.666" v="527" actId="14100"/>
          <ac:spMkLst>
            <pc:docMk/>
            <pc:sldMk cId="3271454933" sldId="732"/>
            <ac:spMk id="5" creationId="{4D62E0DF-D33E-C59D-C745-2F8B93AC04A3}"/>
          </ac:spMkLst>
        </pc:spChg>
        <pc:spChg chg="add del mod ord">
          <ac:chgData name="Thomas Stensitzki" userId="75cafe6b-2f2a-469b-85c4-eec3b9c972ba" providerId="ADAL" clId="{9C6FE5FE-931F-4020-9063-3CD210EE2AD2}" dt="2022-09-02T08:58:07.645" v="528" actId="478"/>
          <ac:spMkLst>
            <pc:docMk/>
            <pc:sldMk cId="3271454933" sldId="732"/>
            <ac:spMk id="6" creationId="{22DE9E50-A8D1-F811-6964-E21ADCF4F553}"/>
          </ac:spMkLst>
        </pc:spChg>
        <pc:spChg chg="add mod">
          <ac:chgData name="Thomas Stensitzki" userId="75cafe6b-2f2a-469b-85c4-eec3b9c972ba" providerId="ADAL" clId="{9C6FE5FE-931F-4020-9063-3CD210EE2AD2}" dt="2022-09-10T15:09:43.318" v="1312" actId="14100"/>
          <ac:spMkLst>
            <pc:docMk/>
            <pc:sldMk cId="3271454933" sldId="732"/>
            <ac:spMk id="6" creationId="{5A28B158-FFD8-E815-3473-B4A5CE6081AA}"/>
          </ac:spMkLst>
        </pc:spChg>
        <pc:graphicFrameChg chg="add mod">
          <ac:chgData name="Thomas Stensitzki" userId="75cafe6b-2f2a-469b-85c4-eec3b9c972ba" providerId="ADAL" clId="{9C6FE5FE-931F-4020-9063-3CD210EE2AD2}" dt="2022-09-10T15:09:24.434" v="1310" actId="20577"/>
          <ac:graphicFrameMkLst>
            <pc:docMk/>
            <pc:sldMk cId="3271454933" sldId="732"/>
            <ac:graphicFrameMk id="7" creationId="{64EAB8BD-143C-6F38-05EB-A4A9C309CD24}"/>
          </ac:graphicFrameMkLst>
        </pc:graphicFrameChg>
      </pc:sldChg>
      <pc:sldChg chg="add del modTransition modAnim">
        <pc:chgData name="Thomas Stensitzki" userId="75cafe6b-2f2a-469b-85c4-eec3b9c972ba" providerId="ADAL" clId="{9C6FE5FE-931F-4020-9063-3CD210EE2AD2}" dt="2022-09-09T18:11:37.549" v="969" actId="47"/>
        <pc:sldMkLst>
          <pc:docMk/>
          <pc:sldMk cId="1538658735" sldId="733"/>
        </pc:sldMkLst>
      </pc:sldChg>
      <pc:sldChg chg="addSp delSp modSp new mod modTransition modClrScheme delAnim modAnim chgLayout">
        <pc:chgData name="Thomas Stensitzki" userId="75cafe6b-2f2a-469b-85c4-eec3b9c972ba" providerId="ADAL" clId="{9C6FE5FE-931F-4020-9063-3CD210EE2AD2}" dt="2022-09-10T15:35:09.127" v="1604" actId="404"/>
        <pc:sldMkLst>
          <pc:docMk/>
          <pc:sldMk cId="3761796327" sldId="734"/>
        </pc:sldMkLst>
        <pc:spChg chg="del mod ord">
          <ac:chgData name="Thomas Stensitzki" userId="75cafe6b-2f2a-469b-85c4-eec3b9c972ba" providerId="ADAL" clId="{9C6FE5FE-931F-4020-9063-3CD210EE2AD2}" dt="2022-09-02T09:18:32.940" v="533" actId="700"/>
          <ac:spMkLst>
            <pc:docMk/>
            <pc:sldMk cId="3761796327" sldId="734"/>
            <ac:spMk id="2" creationId="{FCDDE46E-334B-2FB1-EB2E-A74815C2420A}"/>
          </ac:spMkLst>
        </pc:spChg>
        <pc:spChg chg="del mod ord">
          <ac:chgData name="Thomas Stensitzki" userId="75cafe6b-2f2a-469b-85c4-eec3b9c972ba" providerId="ADAL" clId="{9C6FE5FE-931F-4020-9063-3CD210EE2AD2}" dt="2022-09-02T09:18:32.940" v="533" actId="700"/>
          <ac:spMkLst>
            <pc:docMk/>
            <pc:sldMk cId="3761796327" sldId="734"/>
            <ac:spMk id="3" creationId="{EB55E9C5-E90B-8202-AE7F-D9055835F669}"/>
          </ac:spMkLst>
        </pc:spChg>
        <pc:spChg chg="add mod ord">
          <ac:chgData name="Thomas Stensitzki" userId="75cafe6b-2f2a-469b-85c4-eec3b9c972ba" providerId="ADAL" clId="{9C6FE5FE-931F-4020-9063-3CD210EE2AD2}" dt="2022-09-02T09:26:07.193" v="566" actId="20577"/>
          <ac:spMkLst>
            <pc:docMk/>
            <pc:sldMk cId="3761796327" sldId="734"/>
            <ac:spMk id="4" creationId="{37B192B8-2FCC-4E38-041D-EED152EF43D2}"/>
          </ac:spMkLst>
        </pc:spChg>
        <pc:spChg chg="add mod ord">
          <ac:chgData name="Thomas Stensitzki" userId="75cafe6b-2f2a-469b-85c4-eec3b9c972ba" providerId="ADAL" clId="{9C6FE5FE-931F-4020-9063-3CD210EE2AD2}" dt="2022-09-10T15:16:16.306" v="1335" actId="20577"/>
          <ac:spMkLst>
            <pc:docMk/>
            <pc:sldMk cId="3761796327" sldId="734"/>
            <ac:spMk id="5" creationId="{BD588F2B-90D3-E5C9-F8B5-AFD44ED839A7}"/>
          </ac:spMkLst>
        </pc:spChg>
        <pc:spChg chg="add del mod ord">
          <ac:chgData name="Thomas Stensitzki" userId="75cafe6b-2f2a-469b-85c4-eec3b9c972ba" providerId="ADAL" clId="{9C6FE5FE-931F-4020-9063-3CD210EE2AD2}" dt="2022-09-02T09:18:40.521" v="534" actId="478"/>
          <ac:spMkLst>
            <pc:docMk/>
            <pc:sldMk cId="3761796327" sldId="734"/>
            <ac:spMk id="6" creationId="{9BAB8F3F-81BC-BC00-8B3A-DB5E0695FC49}"/>
          </ac:spMkLst>
        </pc:spChg>
        <pc:spChg chg="add del mod">
          <ac:chgData name="Thomas Stensitzki" userId="75cafe6b-2f2a-469b-85c4-eec3b9c972ba" providerId="ADAL" clId="{9C6FE5FE-931F-4020-9063-3CD210EE2AD2}" dt="2022-09-02T09:24:39.659" v="536"/>
          <ac:spMkLst>
            <pc:docMk/>
            <pc:sldMk cId="3761796327" sldId="734"/>
            <ac:spMk id="7" creationId="{D8FC74DB-EE85-4404-42E4-1BBF06A7D0EA}"/>
          </ac:spMkLst>
        </pc:spChg>
        <pc:spChg chg="add mod">
          <ac:chgData name="Thomas Stensitzki" userId="75cafe6b-2f2a-469b-85c4-eec3b9c972ba" providerId="ADAL" clId="{9C6FE5FE-931F-4020-9063-3CD210EE2AD2}" dt="2022-09-10T15:18:10.004" v="1350" actId="207"/>
          <ac:spMkLst>
            <pc:docMk/>
            <pc:sldMk cId="3761796327" sldId="734"/>
            <ac:spMk id="8" creationId="{0585D25F-3787-5B9B-E224-10F5AD468CF7}"/>
          </ac:spMkLst>
        </pc:spChg>
        <pc:spChg chg="mod">
          <ac:chgData name="Thomas Stensitzki" userId="75cafe6b-2f2a-469b-85c4-eec3b9c972ba" providerId="ADAL" clId="{9C6FE5FE-931F-4020-9063-3CD210EE2AD2}" dt="2022-09-02T09:25:58.786" v="546"/>
          <ac:spMkLst>
            <pc:docMk/>
            <pc:sldMk cId="3761796327" sldId="734"/>
            <ac:spMk id="13" creationId="{E92BE129-CF31-6BC9-9B3E-47EAC11D2D87}"/>
          </ac:spMkLst>
        </pc:spChg>
        <pc:spChg chg="add mod">
          <ac:chgData name="Thomas Stensitzki" userId="75cafe6b-2f2a-469b-85c4-eec3b9c972ba" providerId="ADAL" clId="{9C6FE5FE-931F-4020-9063-3CD210EE2AD2}" dt="2022-09-02T09:25:58.786" v="546"/>
          <ac:spMkLst>
            <pc:docMk/>
            <pc:sldMk cId="3761796327" sldId="734"/>
            <ac:spMk id="14" creationId="{4EE8C338-507E-19DF-3C89-4E6737A8EBF0}"/>
          </ac:spMkLst>
        </pc:spChg>
        <pc:spChg chg="add mod">
          <ac:chgData name="Thomas Stensitzki" userId="75cafe6b-2f2a-469b-85c4-eec3b9c972ba" providerId="ADAL" clId="{9C6FE5FE-931F-4020-9063-3CD210EE2AD2}" dt="2022-09-10T15:35:09.127" v="1604" actId="404"/>
          <ac:spMkLst>
            <pc:docMk/>
            <pc:sldMk cId="3761796327" sldId="734"/>
            <ac:spMk id="16" creationId="{3546A314-7AA4-D342-C9AE-BD48AD04D691}"/>
          </ac:spMkLst>
        </pc:spChg>
        <pc:spChg chg="mod">
          <ac:chgData name="Thomas Stensitzki" userId="75cafe6b-2f2a-469b-85c4-eec3b9c972ba" providerId="ADAL" clId="{9C6FE5FE-931F-4020-9063-3CD210EE2AD2}" dt="2022-09-02T09:25:58.786" v="546"/>
          <ac:spMkLst>
            <pc:docMk/>
            <pc:sldMk cId="3761796327" sldId="734"/>
            <ac:spMk id="19" creationId="{07252943-B268-CC13-837B-CA8181616504}"/>
          </ac:spMkLst>
        </pc:spChg>
        <pc:spChg chg="mod">
          <ac:chgData name="Thomas Stensitzki" userId="75cafe6b-2f2a-469b-85c4-eec3b9c972ba" providerId="ADAL" clId="{9C6FE5FE-931F-4020-9063-3CD210EE2AD2}" dt="2022-09-02T09:25:58.786" v="546"/>
          <ac:spMkLst>
            <pc:docMk/>
            <pc:sldMk cId="3761796327" sldId="734"/>
            <ac:spMk id="22" creationId="{9BE04BF0-4557-D33D-CA61-520723C2BE42}"/>
          </ac:spMkLst>
        </pc:spChg>
        <pc:spChg chg="mod">
          <ac:chgData name="Thomas Stensitzki" userId="75cafe6b-2f2a-469b-85c4-eec3b9c972ba" providerId="ADAL" clId="{9C6FE5FE-931F-4020-9063-3CD210EE2AD2}" dt="2022-09-02T09:25:58.786" v="546"/>
          <ac:spMkLst>
            <pc:docMk/>
            <pc:sldMk cId="3761796327" sldId="734"/>
            <ac:spMk id="24" creationId="{39B1C569-F727-3EED-7A93-079FC8924B77}"/>
          </ac:spMkLst>
        </pc:spChg>
        <pc:spChg chg="add mod">
          <ac:chgData name="Thomas Stensitzki" userId="75cafe6b-2f2a-469b-85c4-eec3b9c972ba" providerId="ADAL" clId="{9C6FE5FE-931F-4020-9063-3CD210EE2AD2}" dt="2022-09-10T15:34:58.749" v="1602" actId="122"/>
          <ac:spMkLst>
            <pc:docMk/>
            <pc:sldMk cId="3761796327" sldId="734"/>
            <ac:spMk id="29" creationId="{222CCB91-408B-1028-7552-97F79D1C9F3C}"/>
          </ac:spMkLst>
        </pc:spChg>
        <pc:spChg chg="add mod">
          <ac:chgData name="Thomas Stensitzki" userId="75cafe6b-2f2a-469b-85c4-eec3b9c972ba" providerId="ADAL" clId="{9C6FE5FE-931F-4020-9063-3CD210EE2AD2}" dt="2022-09-02T09:25:58.786" v="546"/>
          <ac:spMkLst>
            <pc:docMk/>
            <pc:sldMk cId="3761796327" sldId="734"/>
            <ac:spMk id="34" creationId="{380BAEF7-7CAB-255F-062D-E9356A3EFE96}"/>
          </ac:spMkLst>
        </pc:spChg>
        <pc:spChg chg="add del mod">
          <ac:chgData name="Thomas Stensitzki" userId="75cafe6b-2f2a-469b-85c4-eec3b9c972ba" providerId="ADAL" clId="{9C6FE5FE-931F-4020-9063-3CD210EE2AD2}" dt="2022-09-09T18:17:45.156" v="999" actId="478"/>
          <ac:spMkLst>
            <pc:docMk/>
            <pc:sldMk cId="3761796327" sldId="734"/>
            <ac:spMk id="35" creationId="{14B2EA16-3EF0-B239-8A91-98654B5C8DA2}"/>
          </ac:spMkLst>
        </pc:spChg>
        <pc:grpChg chg="add mod">
          <ac:chgData name="Thomas Stensitzki" userId="75cafe6b-2f2a-469b-85c4-eec3b9c972ba" providerId="ADAL" clId="{9C6FE5FE-931F-4020-9063-3CD210EE2AD2}" dt="2022-09-02T09:25:58.786" v="546"/>
          <ac:grpSpMkLst>
            <pc:docMk/>
            <pc:sldMk cId="3761796327" sldId="734"/>
            <ac:grpSpMk id="9" creationId="{534E09AB-311F-BD4F-9993-96CF1263C9FD}"/>
          </ac:grpSpMkLst>
        </pc:grpChg>
        <pc:grpChg chg="add mod">
          <ac:chgData name="Thomas Stensitzki" userId="75cafe6b-2f2a-469b-85c4-eec3b9c972ba" providerId="ADAL" clId="{9C6FE5FE-931F-4020-9063-3CD210EE2AD2}" dt="2022-09-02T09:25:58.786" v="546"/>
          <ac:grpSpMkLst>
            <pc:docMk/>
            <pc:sldMk cId="3761796327" sldId="734"/>
            <ac:grpSpMk id="18" creationId="{49077CD9-2CB9-DD0E-F70A-78EA5B2A8A28}"/>
          </ac:grpSpMkLst>
        </pc:grpChg>
        <pc:grpChg chg="mod">
          <ac:chgData name="Thomas Stensitzki" userId="75cafe6b-2f2a-469b-85c4-eec3b9c972ba" providerId="ADAL" clId="{9C6FE5FE-931F-4020-9063-3CD210EE2AD2}" dt="2022-09-02T09:25:58.786" v="546"/>
          <ac:grpSpMkLst>
            <pc:docMk/>
            <pc:sldMk cId="3761796327" sldId="734"/>
            <ac:grpSpMk id="21" creationId="{3AE00334-68A6-C744-F46D-7A04066AAE36}"/>
          </ac:grpSpMkLst>
        </pc:grpChg>
        <pc:picChg chg="mod">
          <ac:chgData name="Thomas Stensitzki" userId="75cafe6b-2f2a-469b-85c4-eec3b9c972ba" providerId="ADAL" clId="{9C6FE5FE-931F-4020-9063-3CD210EE2AD2}" dt="2022-09-02T09:25:58.786" v="546"/>
          <ac:picMkLst>
            <pc:docMk/>
            <pc:sldMk cId="3761796327" sldId="734"/>
            <ac:picMk id="10" creationId="{F4F80304-9D07-1FC5-C674-795491E70CE5}"/>
          </ac:picMkLst>
        </pc:picChg>
        <pc:picChg chg="mod">
          <ac:chgData name="Thomas Stensitzki" userId="75cafe6b-2f2a-469b-85c4-eec3b9c972ba" providerId="ADAL" clId="{9C6FE5FE-931F-4020-9063-3CD210EE2AD2}" dt="2022-09-02T09:25:58.786" v="546"/>
          <ac:picMkLst>
            <pc:docMk/>
            <pc:sldMk cId="3761796327" sldId="734"/>
            <ac:picMk id="11" creationId="{AEBE86D7-B183-72E5-4BDC-881B6408FB87}"/>
          </ac:picMkLst>
        </pc:picChg>
        <pc:picChg chg="mod">
          <ac:chgData name="Thomas Stensitzki" userId="75cafe6b-2f2a-469b-85c4-eec3b9c972ba" providerId="ADAL" clId="{9C6FE5FE-931F-4020-9063-3CD210EE2AD2}" dt="2022-09-02T09:25:58.786" v="546"/>
          <ac:picMkLst>
            <pc:docMk/>
            <pc:sldMk cId="3761796327" sldId="734"/>
            <ac:picMk id="12" creationId="{171BEDCC-A035-A5D1-0D8F-5DD322DC8E88}"/>
          </ac:picMkLst>
        </pc:picChg>
        <pc:picChg chg="add mod">
          <ac:chgData name="Thomas Stensitzki" userId="75cafe6b-2f2a-469b-85c4-eec3b9c972ba" providerId="ADAL" clId="{9C6FE5FE-931F-4020-9063-3CD210EE2AD2}" dt="2022-09-02T09:25:58.786" v="546"/>
          <ac:picMkLst>
            <pc:docMk/>
            <pc:sldMk cId="3761796327" sldId="734"/>
            <ac:picMk id="15" creationId="{C9D81431-3131-F33A-B28B-98C8A240A8C9}"/>
          </ac:picMkLst>
        </pc:picChg>
        <pc:picChg chg="add del mod">
          <ac:chgData name="Thomas Stensitzki" userId="75cafe6b-2f2a-469b-85c4-eec3b9c972ba" providerId="ADAL" clId="{9C6FE5FE-931F-4020-9063-3CD210EE2AD2}" dt="2022-09-09T18:17:42.991" v="998" actId="478"/>
          <ac:picMkLst>
            <pc:docMk/>
            <pc:sldMk cId="3761796327" sldId="734"/>
            <ac:picMk id="17" creationId="{5D72CA47-10DC-9FBD-2419-6FEEED644582}"/>
          </ac:picMkLst>
        </pc:picChg>
        <pc:picChg chg="mod">
          <ac:chgData name="Thomas Stensitzki" userId="75cafe6b-2f2a-469b-85c4-eec3b9c972ba" providerId="ADAL" clId="{9C6FE5FE-931F-4020-9063-3CD210EE2AD2}" dt="2022-09-10T15:17:53.607" v="1349" actId="14826"/>
          <ac:picMkLst>
            <pc:docMk/>
            <pc:sldMk cId="3761796327" sldId="734"/>
            <ac:picMk id="20" creationId="{691B3EE7-3FA8-1C28-2D68-C51B74B2D750}"/>
          </ac:picMkLst>
        </pc:picChg>
        <pc:picChg chg="mod">
          <ac:chgData name="Thomas Stensitzki" userId="75cafe6b-2f2a-469b-85c4-eec3b9c972ba" providerId="ADAL" clId="{9C6FE5FE-931F-4020-9063-3CD210EE2AD2}" dt="2022-09-02T09:25:58.786" v="546"/>
          <ac:picMkLst>
            <pc:docMk/>
            <pc:sldMk cId="3761796327" sldId="734"/>
            <ac:picMk id="23" creationId="{E3E3E215-7EBE-60F9-507A-ACBD1926CFB6}"/>
          </ac:picMkLst>
        </pc:picChg>
        <pc:picChg chg="add mod">
          <ac:chgData name="Thomas Stensitzki" userId="75cafe6b-2f2a-469b-85c4-eec3b9c972ba" providerId="ADAL" clId="{9C6FE5FE-931F-4020-9063-3CD210EE2AD2}" dt="2022-09-02T09:25:58.786" v="546"/>
          <ac:picMkLst>
            <pc:docMk/>
            <pc:sldMk cId="3761796327" sldId="734"/>
            <ac:picMk id="26" creationId="{20EB6CF4-401F-0658-E8F0-52761331B00B}"/>
          </ac:picMkLst>
        </pc:picChg>
        <pc:picChg chg="add mod">
          <ac:chgData name="Thomas Stensitzki" userId="75cafe6b-2f2a-469b-85c4-eec3b9c972ba" providerId="ADAL" clId="{9C6FE5FE-931F-4020-9063-3CD210EE2AD2}" dt="2022-09-02T09:25:58.786" v="546"/>
          <ac:picMkLst>
            <pc:docMk/>
            <pc:sldMk cId="3761796327" sldId="734"/>
            <ac:picMk id="36" creationId="{16581D57-0996-A5EC-15FB-DE855F0E1AAA}"/>
          </ac:picMkLst>
        </pc:picChg>
        <pc:picChg chg="add mod">
          <ac:chgData name="Thomas Stensitzki" userId="75cafe6b-2f2a-469b-85c4-eec3b9c972ba" providerId="ADAL" clId="{9C6FE5FE-931F-4020-9063-3CD210EE2AD2}" dt="2022-09-02T09:25:58.786" v="546"/>
          <ac:picMkLst>
            <pc:docMk/>
            <pc:sldMk cId="3761796327" sldId="734"/>
            <ac:picMk id="37" creationId="{23CD07E6-3DB3-A32C-454A-F460181E5C40}"/>
          </ac:picMkLst>
        </pc:picChg>
        <pc:cxnChg chg="add mod">
          <ac:chgData name="Thomas Stensitzki" userId="75cafe6b-2f2a-469b-85c4-eec3b9c972ba" providerId="ADAL" clId="{9C6FE5FE-931F-4020-9063-3CD210EE2AD2}" dt="2022-09-02T09:25:58.786" v="546"/>
          <ac:cxnSpMkLst>
            <pc:docMk/>
            <pc:sldMk cId="3761796327" sldId="734"/>
            <ac:cxnSpMk id="25" creationId="{32A59AA6-50D7-7DDD-6D94-E20E0A6C194C}"/>
          </ac:cxnSpMkLst>
        </pc:cxnChg>
        <pc:cxnChg chg="add mod">
          <ac:chgData name="Thomas Stensitzki" userId="75cafe6b-2f2a-469b-85c4-eec3b9c972ba" providerId="ADAL" clId="{9C6FE5FE-931F-4020-9063-3CD210EE2AD2}" dt="2022-09-02T09:25:58.786" v="546"/>
          <ac:cxnSpMkLst>
            <pc:docMk/>
            <pc:sldMk cId="3761796327" sldId="734"/>
            <ac:cxnSpMk id="27" creationId="{AEC6123A-B73C-1EEA-0AD0-8F202367834F}"/>
          </ac:cxnSpMkLst>
        </pc:cxnChg>
        <pc:cxnChg chg="add del mod">
          <ac:chgData name="Thomas Stensitzki" userId="75cafe6b-2f2a-469b-85c4-eec3b9c972ba" providerId="ADAL" clId="{9C6FE5FE-931F-4020-9063-3CD210EE2AD2}" dt="2022-09-09T18:17:40.951" v="996" actId="478"/>
          <ac:cxnSpMkLst>
            <pc:docMk/>
            <pc:sldMk cId="3761796327" sldId="734"/>
            <ac:cxnSpMk id="28" creationId="{BF9B2FA2-AA34-BDE4-2E45-D14CDBAA0DC6}"/>
          </ac:cxnSpMkLst>
        </pc:cxnChg>
        <pc:cxnChg chg="add del mod">
          <ac:chgData name="Thomas Stensitzki" userId="75cafe6b-2f2a-469b-85c4-eec3b9c972ba" providerId="ADAL" clId="{9C6FE5FE-931F-4020-9063-3CD210EE2AD2}" dt="2022-09-09T18:17:46.432" v="1000" actId="478"/>
          <ac:cxnSpMkLst>
            <pc:docMk/>
            <pc:sldMk cId="3761796327" sldId="734"/>
            <ac:cxnSpMk id="30" creationId="{88BCB5E5-3E22-0D4B-2D33-BD38AB8BC3F5}"/>
          </ac:cxnSpMkLst>
        </pc:cxnChg>
        <pc:cxnChg chg="add mod">
          <ac:chgData name="Thomas Stensitzki" userId="75cafe6b-2f2a-469b-85c4-eec3b9c972ba" providerId="ADAL" clId="{9C6FE5FE-931F-4020-9063-3CD210EE2AD2}" dt="2022-09-02T09:25:58.786" v="546"/>
          <ac:cxnSpMkLst>
            <pc:docMk/>
            <pc:sldMk cId="3761796327" sldId="734"/>
            <ac:cxnSpMk id="31" creationId="{48A1B5F7-6AD5-D0B4-9BB6-BC3CE280FA82}"/>
          </ac:cxnSpMkLst>
        </pc:cxnChg>
        <pc:cxnChg chg="add mod">
          <ac:chgData name="Thomas Stensitzki" userId="75cafe6b-2f2a-469b-85c4-eec3b9c972ba" providerId="ADAL" clId="{9C6FE5FE-931F-4020-9063-3CD210EE2AD2}" dt="2022-09-02T09:25:58.786" v="546"/>
          <ac:cxnSpMkLst>
            <pc:docMk/>
            <pc:sldMk cId="3761796327" sldId="734"/>
            <ac:cxnSpMk id="32" creationId="{7BA85358-5CCE-2401-F68D-59F4837B4C28}"/>
          </ac:cxnSpMkLst>
        </pc:cxnChg>
        <pc:cxnChg chg="add del mod">
          <ac:chgData name="Thomas Stensitzki" userId="75cafe6b-2f2a-469b-85c4-eec3b9c972ba" providerId="ADAL" clId="{9C6FE5FE-931F-4020-9063-3CD210EE2AD2}" dt="2022-09-09T18:17:40.063" v="995" actId="478"/>
          <ac:cxnSpMkLst>
            <pc:docMk/>
            <pc:sldMk cId="3761796327" sldId="734"/>
            <ac:cxnSpMk id="33" creationId="{4C71CF56-DE6D-BF1C-8BEC-9628E2FAA03B}"/>
          </ac:cxnSpMkLst>
        </pc:cxnChg>
      </pc:sldChg>
      <pc:sldChg chg="modSp add mod modTransition modAnim">
        <pc:chgData name="Thomas Stensitzki" userId="75cafe6b-2f2a-469b-85c4-eec3b9c972ba" providerId="ADAL" clId="{9C6FE5FE-931F-4020-9063-3CD210EE2AD2}" dt="2022-09-10T15:35:32.146" v="1610"/>
        <pc:sldMkLst>
          <pc:docMk/>
          <pc:sldMk cId="2477411179" sldId="735"/>
        </pc:sldMkLst>
        <pc:spChg chg="mod">
          <ac:chgData name="Thomas Stensitzki" userId="75cafe6b-2f2a-469b-85c4-eec3b9c972ba" providerId="ADAL" clId="{9C6FE5FE-931F-4020-9063-3CD210EE2AD2}" dt="2022-09-10T15:17:34.377" v="1348" actId="20577"/>
          <ac:spMkLst>
            <pc:docMk/>
            <pc:sldMk cId="2477411179" sldId="735"/>
            <ac:spMk id="5" creationId="{BD588F2B-90D3-E5C9-F8B5-AFD44ED839A7}"/>
          </ac:spMkLst>
        </pc:spChg>
        <pc:spChg chg="mod">
          <ac:chgData name="Thomas Stensitzki" userId="75cafe6b-2f2a-469b-85c4-eec3b9c972ba" providerId="ADAL" clId="{9C6FE5FE-931F-4020-9063-3CD210EE2AD2}" dt="2022-09-10T15:18:20.654" v="1351" actId="207"/>
          <ac:spMkLst>
            <pc:docMk/>
            <pc:sldMk cId="2477411179" sldId="735"/>
            <ac:spMk id="8" creationId="{0585D25F-3787-5B9B-E224-10F5AD468CF7}"/>
          </ac:spMkLst>
        </pc:spChg>
        <pc:spChg chg="mod">
          <ac:chgData name="Thomas Stensitzki" userId="75cafe6b-2f2a-469b-85c4-eec3b9c972ba" providerId="ADAL" clId="{9C6FE5FE-931F-4020-9063-3CD210EE2AD2}" dt="2022-09-10T15:35:25.123" v="1607" actId="404"/>
          <ac:spMkLst>
            <pc:docMk/>
            <pc:sldMk cId="2477411179" sldId="735"/>
            <ac:spMk id="16" creationId="{3546A314-7AA4-D342-C9AE-BD48AD04D691}"/>
          </ac:spMkLst>
        </pc:spChg>
        <pc:spChg chg="mod">
          <ac:chgData name="Thomas Stensitzki" userId="75cafe6b-2f2a-469b-85c4-eec3b9c972ba" providerId="ADAL" clId="{9C6FE5FE-931F-4020-9063-3CD210EE2AD2}" dt="2022-09-10T15:35:32.146" v="1610"/>
          <ac:spMkLst>
            <pc:docMk/>
            <pc:sldMk cId="2477411179" sldId="735"/>
            <ac:spMk id="29" creationId="{222CCB91-408B-1028-7552-97F79D1C9F3C}"/>
          </ac:spMkLst>
        </pc:spChg>
        <pc:picChg chg="mod">
          <ac:chgData name="Thomas Stensitzki" userId="75cafe6b-2f2a-469b-85c4-eec3b9c972ba" providerId="ADAL" clId="{9C6FE5FE-931F-4020-9063-3CD210EE2AD2}" dt="2022-09-10T15:18:25.953" v="1352" actId="14826"/>
          <ac:picMkLst>
            <pc:docMk/>
            <pc:sldMk cId="2477411179" sldId="735"/>
            <ac:picMk id="20" creationId="{691B3EE7-3FA8-1C28-2D68-C51B74B2D750}"/>
          </ac:picMkLst>
        </pc:picChg>
      </pc:sldChg>
      <pc:sldChg chg="addSp delSp modSp new mod modTransition delAnim modAnim">
        <pc:chgData name="Thomas Stensitzki" userId="75cafe6b-2f2a-469b-85c4-eec3b9c972ba" providerId="ADAL" clId="{9C6FE5FE-931F-4020-9063-3CD210EE2AD2}" dt="2022-09-10T15:37:22.838" v="1624"/>
        <pc:sldMkLst>
          <pc:docMk/>
          <pc:sldMk cId="3519914290" sldId="736"/>
        </pc:sldMkLst>
        <pc:spChg chg="add del mod">
          <ac:chgData name="Thomas Stensitzki" userId="75cafe6b-2f2a-469b-85c4-eec3b9c972ba" providerId="ADAL" clId="{9C6FE5FE-931F-4020-9063-3CD210EE2AD2}" dt="2022-09-10T15:18:49.693" v="1357" actId="478"/>
          <ac:spMkLst>
            <pc:docMk/>
            <pc:sldMk cId="3519914290" sldId="736"/>
            <ac:spMk id="2" creationId="{B6AEC24E-0D77-83BA-413F-72A4AD782C01}"/>
          </ac:spMkLst>
        </pc:spChg>
        <pc:spChg chg="mod">
          <ac:chgData name="Thomas Stensitzki" userId="75cafe6b-2f2a-469b-85c4-eec3b9c972ba" providerId="ADAL" clId="{9C6FE5FE-931F-4020-9063-3CD210EE2AD2}" dt="2022-09-10T15:24:57.379" v="1408" actId="6549"/>
          <ac:spMkLst>
            <pc:docMk/>
            <pc:sldMk cId="3519914290" sldId="736"/>
            <ac:spMk id="3" creationId="{E30B2CA8-CCEA-8CB9-2874-A55784F305A0}"/>
          </ac:spMkLst>
        </pc:spChg>
        <pc:spChg chg="del">
          <ac:chgData name="Thomas Stensitzki" userId="75cafe6b-2f2a-469b-85c4-eec3b9c972ba" providerId="ADAL" clId="{9C6FE5FE-931F-4020-9063-3CD210EE2AD2}" dt="2022-09-02T09:26:36.319" v="588" actId="478"/>
          <ac:spMkLst>
            <pc:docMk/>
            <pc:sldMk cId="3519914290" sldId="736"/>
            <ac:spMk id="4" creationId="{F7172C9F-86C2-3677-3D21-BE1508E15739}"/>
          </ac:spMkLst>
        </pc:spChg>
        <pc:spChg chg="add del mod">
          <ac:chgData name="Thomas Stensitzki" userId="75cafe6b-2f2a-469b-85c4-eec3b9c972ba" providerId="ADAL" clId="{9C6FE5FE-931F-4020-9063-3CD210EE2AD2}" dt="2022-09-10T15:18:35.593" v="1353" actId="478"/>
          <ac:spMkLst>
            <pc:docMk/>
            <pc:sldMk cId="3519914290" sldId="736"/>
            <ac:spMk id="5" creationId="{8F48751B-D8E1-319E-A617-E90F1C829D98}"/>
          </ac:spMkLst>
        </pc:spChg>
        <pc:spChg chg="add del mod">
          <ac:chgData name="Thomas Stensitzki" userId="75cafe6b-2f2a-469b-85c4-eec3b9c972ba" providerId="ADAL" clId="{9C6FE5FE-931F-4020-9063-3CD210EE2AD2}" dt="2022-09-10T15:18:54.434" v="1359" actId="207"/>
          <ac:spMkLst>
            <pc:docMk/>
            <pc:sldMk cId="3519914290" sldId="736"/>
            <ac:spMk id="7" creationId="{450594B8-9D76-BF57-80E5-BBCD054D6698}"/>
          </ac:spMkLst>
        </pc:spChg>
        <pc:spChg chg="add mod">
          <ac:chgData name="Thomas Stensitzki" userId="75cafe6b-2f2a-469b-85c4-eec3b9c972ba" providerId="ADAL" clId="{9C6FE5FE-931F-4020-9063-3CD210EE2AD2}" dt="2022-09-02T09:28:32.206" v="589"/>
          <ac:spMkLst>
            <pc:docMk/>
            <pc:sldMk cId="3519914290" sldId="736"/>
            <ac:spMk id="8" creationId="{DD8D0AB0-07A2-6C2F-6C45-AA1BAB422175}"/>
          </ac:spMkLst>
        </pc:spChg>
        <pc:spChg chg="add mod">
          <ac:chgData name="Thomas Stensitzki" userId="75cafe6b-2f2a-469b-85c4-eec3b9c972ba" providerId="ADAL" clId="{9C6FE5FE-931F-4020-9063-3CD210EE2AD2}" dt="2022-09-10T15:35:49.589" v="1616"/>
          <ac:spMkLst>
            <pc:docMk/>
            <pc:sldMk cId="3519914290" sldId="736"/>
            <ac:spMk id="10" creationId="{FF19A621-C23B-5A5C-68A9-6E433946FE51}"/>
          </ac:spMkLst>
        </pc:spChg>
        <pc:spChg chg="mod">
          <ac:chgData name="Thomas Stensitzki" userId="75cafe6b-2f2a-469b-85c4-eec3b9c972ba" providerId="ADAL" clId="{9C6FE5FE-931F-4020-9063-3CD210EE2AD2}" dt="2022-09-02T09:28:32.206" v="589"/>
          <ac:spMkLst>
            <pc:docMk/>
            <pc:sldMk cId="3519914290" sldId="736"/>
            <ac:spMk id="12" creationId="{7343ECFF-D903-8307-2572-ED39D5B5D6BD}"/>
          </ac:spMkLst>
        </pc:spChg>
        <pc:spChg chg="mod">
          <ac:chgData name="Thomas Stensitzki" userId="75cafe6b-2f2a-469b-85c4-eec3b9c972ba" providerId="ADAL" clId="{9C6FE5FE-931F-4020-9063-3CD210EE2AD2}" dt="2022-09-02T09:28:32.206" v="589"/>
          <ac:spMkLst>
            <pc:docMk/>
            <pc:sldMk cId="3519914290" sldId="736"/>
            <ac:spMk id="15" creationId="{849D1EE5-AA70-7E54-39D3-9E86685CCF1B}"/>
          </ac:spMkLst>
        </pc:spChg>
        <pc:spChg chg="mod">
          <ac:chgData name="Thomas Stensitzki" userId="75cafe6b-2f2a-469b-85c4-eec3b9c972ba" providerId="ADAL" clId="{9C6FE5FE-931F-4020-9063-3CD210EE2AD2}" dt="2022-09-02T09:28:32.206" v="589"/>
          <ac:spMkLst>
            <pc:docMk/>
            <pc:sldMk cId="3519914290" sldId="736"/>
            <ac:spMk id="17" creationId="{E08146F5-3D92-0802-8FB7-A246DBF73BDA}"/>
          </ac:spMkLst>
        </pc:spChg>
        <pc:spChg chg="add mod">
          <ac:chgData name="Thomas Stensitzki" userId="75cafe6b-2f2a-469b-85c4-eec3b9c972ba" providerId="ADAL" clId="{9C6FE5FE-931F-4020-9063-3CD210EE2AD2}" dt="2022-09-10T15:35:43.561" v="1613"/>
          <ac:spMkLst>
            <pc:docMk/>
            <pc:sldMk cId="3519914290" sldId="736"/>
            <ac:spMk id="21" creationId="{BB7741C7-51F4-A25D-3867-5997EA58C043}"/>
          </ac:spMkLst>
        </pc:spChg>
        <pc:spChg chg="mod">
          <ac:chgData name="Thomas Stensitzki" userId="75cafe6b-2f2a-469b-85c4-eec3b9c972ba" providerId="ADAL" clId="{9C6FE5FE-931F-4020-9063-3CD210EE2AD2}" dt="2022-09-02T09:28:32.206" v="589"/>
          <ac:spMkLst>
            <pc:docMk/>
            <pc:sldMk cId="3519914290" sldId="736"/>
            <ac:spMk id="30" creationId="{AA24CCB1-0EDC-759B-0D73-301920178DEA}"/>
          </ac:spMkLst>
        </pc:spChg>
        <pc:spChg chg="add del mod">
          <ac:chgData name="Thomas Stensitzki" userId="75cafe6b-2f2a-469b-85c4-eec3b9c972ba" providerId="ADAL" clId="{9C6FE5FE-931F-4020-9063-3CD210EE2AD2}" dt="2022-09-10T15:20:48.780" v="1373" actId="478"/>
          <ac:spMkLst>
            <pc:docMk/>
            <pc:sldMk cId="3519914290" sldId="736"/>
            <ac:spMk id="33" creationId="{B5559D6C-1616-FD00-42AD-09AD61168AE9}"/>
          </ac:spMkLst>
        </pc:spChg>
        <pc:spChg chg="add mod">
          <ac:chgData name="Thomas Stensitzki" userId="75cafe6b-2f2a-469b-85c4-eec3b9c972ba" providerId="ADAL" clId="{9C6FE5FE-931F-4020-9063-3CD210EE2AD2}" dt="2022-09-02T09:28:32.206" v="589"/>
          <ac:spMkLst>
            <pc:docMk/>
            <pc:sldMk cId="3519914290" sldId="736"/>
            <ac:spMk id="34" creationId="{6102F44A-91FE-D563-A4AC-879C1F602CAA}"/>
          </ac:spMkLst>
        </pc:spChg>
        <pc:spChg chg="add del mod">
          <ac:chgData name="Thomas Stensitzki" userId="75cafe6b-2f2a-469b-85c4-eec3b9c972ba" providerId="ADAL" clId="{9C6FE5FE-931F-4020-9063-3CD210EE2AD2}" dt="2022-09-10T15:18:49.693" v="1357" actId="478"/>
          <ac:spMkLst>
            <pc:docMk/>
            <pc:sldMk cId="3519914290" sldId="736"/>
            <ac:spMk id="38" creationId="{B1616B27-252A-B1EA-3C12-FED5A6F5973F}"/>
          </ac:spMkLst>
        </pc:spChg>
        <pc:grpChg chg="add mod">
          <ac:chgData name="Thomas Stensitzki" userId="75cafe6b-2f2a-469b-85c4-eec3b9c972ba" providerId="ADAL" clId="{9C6FE5FE-931F-4020-9063-3CD210EE2AD2}" dt="2022-09-02T09:28:32.206" v="589"/>
          <ac:grpSpMkLst>
            <pc:docMk/>
            <pc:sldMk cId="3519914290" sldId="736"/>
            <ac:grpSpMk id="11" creationId="{37B30935-3E7C-AC80-F386-AABCE172874B}"/>
          </ac:grpSpMkLst>
        </pc:grpChg>
        <pc:grpChg chg="mod">
          <ac:chgData name="Thomas Stensitzki" userId="75cafe6b-2f2a-469b-85c4-eec3b9c972ba" providerId="ADAL" clId="{9C6FE5FE-931F-4020-9063-3CD210EE2AD2}" dt="2022-09-02T09:28:32.206" v="589"/>
          <ac:grpSpMkLst>
            <pc:docMk/>
            <pc:sldMk cId="3519914290" sldId="736"/>
            <ac:grpSpMk id="14" creationId="{E33C4D22-470A-AC33-E3A8-B15B57DB0E2A}"/>
          </ac:grpSpMkLst>
        </pc:grpChg>
        <pc:grpChg chg="add mod">
          <ac:chgData name="Thomas Stensitzki" userId="75cafe6b-2f2a-469b-85c4-eec3b9c972ba" providerId="ADAL" clId="{9C6FE5FE-931F-4020-9063-3CD210EE2AD2}" dt="2022-09-02T09:28:32.206" v="589"/>
          <ac:grpSpMkLst>
            <pc:docMk/>
            <pc:sldMk cId="3519914290" sldId="736"/>
            <ac:grpSpMk id="26" creationId="{4813FDBD-387B-1D4D-00F0-B0317EDFCD42}"/>
          </ac:grpSpMkLst>
        </pc:grpChg>
        <pc:picChg chg="add del mod">
          <ac:chgData name="Thomas Stensitzki" userId="75cafe6b-2f2a-469b-85c4-eec3b9c972ba" providerId="ADAL" clId="{9C6FE5FE-931F-4020-9063-3CD210EE2AD2}" dt="2022-09-10T15:18:38.251" v="1354" actId="478"/>
          <ac:picMkLst>
            <pc:docMk/>
            <pc:sldMk cId="3519914290" sldId="736"/>
            <ac:picMk id="6" creationId="{E1B4F762-DEA3-DEEF-604E-33052DFD053A}"/>
          </ac:picMkLst>
        </pc:picChg>
        <pc:picChg chg="add mod">
          <ac:chgData name="Thomas Stensitzki" userId="75cafe6b-2f2a-469b-85c4-eec3b9c972ba" providerId="ADAL" clId="{9C6FE5FE-931F-4020-9063-3CD210EE2AD2}" dt="2022-09-02T09:28:32.206" v="589"/>
          <ac:picMkLst>
            <pc:docMk/>
            <pc:sldMk cId="3519914290" sldId="736"/>
            <ac:picMk id="9" creationId="{B6E04115-FF32-2774-90F7-E6630C616A52}"/>
          </ac:picMkLst>
        </pc:picChg>
        <pc:picChg chg="mod">
          <ac:chgData name="Thomas Stensitzki" userId="75cafe6b-2f2a-469b-85c4-eec3b9c972ba" providerId="ADAL" clId="{9C6FE5FE-931F-4020-9063-3CD210EE2AD2}" dt="2022-09-10T15:19:05.329" v="1360" actId="14826"/>
          <ac:picMkLst>
            <pc:docMk/>
            <pc:sldMk cId="3519914290" sldId="736"/>
            <ac:picMk id="13" creationId="{22B5160A-931F-FC65-5587-65329842A693}"/>
          </ac:picMkLst>
        </pc:picChg>
        <pc:picChg chg="mod">
          <ac:chgData name="Thomas Stensitzki" userId="75cafe6b-2f2a-469b-85c4-eec3b9c972ba" providerId="ADAL" clId="{9C6FE5FE-931F-4020-9063-3CD210EE2AD2}" dt="2022-09-02T09:28:32.206" v="589"/>
          <ac:picMkLst>
            <pc:docMk/>
            <pc:sldMk cId="3519914290" sldId="736"/>
            <ac:picMk id="16" creationId="{EA683AAA-09FB-45D2-6ACD-C1152A86D67C}"/>
          </ac:picMkLst>
        </pc:picChg>
        <pc:picChg chg="add mod">
          <ac:chgData name="Thomas Stensitzki" userId="75cafe6b-2f2a-469b-85c4-eec3b9c972ba" providerId="ADAL" clId="{9C6FE5FE-931F-4020-9063-3CD210EE2AD2}" dt="2022-09-02T09:28:32.206" v="589"/>
          <ac:picMkLst>
            <pc:docMk/>
            <pc:sldMk cId="3519914290" sldId="736"/>
            <ac:picMk id="19" creationId="{DFE3D392-45C8-841B-6F92-B6D04839EABE}"/>
          </ac:picMkLst>
        </pc:picChg>
        <pc:picChg chg="add del mod">
          <ac:chgData name="Thomas Stensitzki" userId="75cafe6b-2f2a-469b-85c4-eec3b9c972ba" providerId="ADAL" clId="{9C6FE5FE-931F-4020-9063-3CD210EE2AD2}" dt="2022-09-10T15:20:50.091" v="1374" actId="478"/>
          <ac:picMkLst>
            <pc:docMk/>
            <pc:sldMk cId="3519914290" sldId="736"/>
            <ac:picMk id="25" creationId="{C42E9D43-F7DB-73C7-B9E1-668C9120FEAE}"/>
          </ac:picMkLst>
        </pc:picChg>
        <pc:picChg chg="mod">
          <ac:chgData name="Thomas Stensitzki" userId="75cafe6b-2f2a-469b-85c4-eec3b9c972ba" providerId="ADAL" clId="{9C6FE5FE-931F-4020-9063-3CD210EE2AD2}" dt="2022-09-02T09:28:32.206" v="589"/>
          <ac:picMkLst>
            <pc:docMk/>
            <pc:sldMk cId="3519914290" sldId="736"/>
            <ac:picMk id="27" creationId="{F3A89D4D-E122-231C-6E04-401B4B65F9A1}"/>
          </ac:picMkLst>
        </pc:picChg>
        <pc:picChg chg="mod">
          <ac:chgData name="Thomas Stensitzki" userId="75cafe6b-2f2a-469b-85c4-eec3b9c972ba" providerId="ADAL" clId="{9C6FE5FE-931F-4020-9063-3CD210EE2AD2}" dt="2022-09-02T09:28:32.206" v="589"/>
          <ac:picMkLst>
            <pc:docMk/>
            <pc:sldMk cId="3519914290" sldId="736"/>
            <ac:picMk id="28" creationId="{69AC8BA4-8EED-6289-B0FB-C87629C9807D}"/>
          </ac:picMkLst>
        </pc:picChg>
        <pc:picChg chg="mod">
          <ac:chgData name="Thomas Stensitzki" userId="75cafe6b-2f2a-469b-85c4-eec3b9c972ba" providerId="ADAL" clId="{9C6FE5FE-931F-4020-9063-3CD210EE2AD2}" dt="2022-09-02T09:28:32.206" v="589"/>
          <ac:picMkLst>
            <pc:docMk/>
            <pc:sldMk cId="3519914290" sldId="736"/>
            <ac:picMk id="29" creationId="{B361C1C7-78AB-EE8A-3AF0-7905ABEE509E}"/>
          </ac:picMkLst>
        </pc:picChg>
        <pc:picChg chg="add del mod">
          <ac:chgData name="Thomas Stensitzki" userId="75cafe6b-2f2a-469b-85c4-eec3b9c972ba" providerId="ADAL" clId="{9C6FE5FE-931F-4020-9063-3CD210EE2AD2}" dt="2022-09-10T15:20:55.251" v="1376" actId="478"/>
          <ac:picMkLst>
            <pc:docMk/>
            <pc:sldMk cId="3519914290" sldId="736"/>
            <ac:picMk id="31" creationId="{DD635E37-3918-2271-40BC-6CCDCD10F8F3}"/>
          </ac:picMkLst>
        </pc:picChg>
        <pc:picChg chg="add del mod">
          <ac:chgData name="Thomas Stensitzki" userId="75cafe6b-2f2a-469b-85c4-eec3b9c972ba" providerId="ADAL" clId="{9C6FE5FE-931F-4020-9063-3CD210EE2AD2}" dt="2022-09-10T15:20:53.455" v="1375" actId="478"/>
          <ac:picMkLst>
            <pc:docMk/>
            <pc:sldMk cId="3519914290" sldId="736"/>
            <ac:picMk id="32" creationId="{A97ACD74-ACF0-6C71-6B25-C2D0A6DC68EB}"/>
          </ac:picMkLst>
        </pc:picChg>
        <pc:picChg chg="add mod">
          <ac:chgData name="Thomas Stensitzki" userId="75cafe6b-2f2a-469b-85c4-eec3b9c972ba" providerId="ADAL" clId="{9C6FE5FE-931F-4020-9063-3CD210EE2AD2}" dt="2022-09-02T09:28:32.206" v="589"/>
          <ac:picMkLst>
            <pc:docMk/>
            <pc:sldMk cId="3519914290" sldId="736"/>
            <ac:picMk id="36" creationId="{CE4F1001-8675-E6F4-333A-94C369BB7CB8}"/>
          </ac:picMkLst>
        </pc:picChg>
        <pc:picChg chg="add mod">
          <ac:chgData name="Thomas Stensitzki" userId="75cafe6b-2f2a-469b-85c4-eec3b9c972ba" providerId="ADAL" clId="{9C6FE5FE-931F-4020-9063-3CD210EE2AD2}" dt="2022-09-02T09:28:32.206" v="589"/>
          <ac:picMkLst>
            <pc:docMk/>
            <pc:sldMk cId="3519914290" sldId="736"/>
            <ac:picMk id="37" creationId="{988F306A-2061-1940-AF49-0242830C07DB}"/>
          </ac:picMkLst>
        </pc:picChg>
        <pc:cxnChg chg="add mod">
          <ac:chgData name="Thomas Stensitzki" userId="75cafe6b-2f2a-469b-85c4-eec3b9c972ba" providerId="ADAL" clId="{9C6FE5FE-931F-4020-9063-3CD210EE2AD2}" dt="2022-09-02T09:28:32.206" v="589"/>
          <ac:cxnSpMkLst>
            <pc:docMk/>
            <pc:sldMk cId="3519914290" sldId="736"/>
            <ac:cxnSpMk id="18" creationId="{EA2A3640-EC35-3C13-FDB8-E09DB397FA9B}"/>
          </ac:cxnSpMkLst>
        </pc:cxnChg>
        <pc:cxnChg chg="add mod">
          <ac:chgData name="Thomas Stensitzki" userId="75cafe6b-2f2a-469b-85c4-eec3b9c972ba" providerId="ADAL" clId="{9C6FE5FE-931F-4020-9063-3CD210EE2AD2}" dt="2022-09-02T09:28:32.206" v="589"/>
          <ac:cxnSpMkLst>
            <pc:docMk/>
            <pc:sldMk cId="3519914290" sldId="736"/>
            <ac:cxnSpMk id="20" creationId="{F2CC574A-F1ED-A648-D63B-1E26DC2C5BDC}"/>
          </ac:cxnSpMkLst>
        </pc:cxnChg>
        <pc:cxnChg chg="add mod">
          <ac:chgData name="Thomas Stensitzki" userId="75cafe6b-2f2a-469b-85c4-eec3b9c972ba" providerId="ADAL" clId="{9C6FE5FE-931F-4020-9063-3CD210EE2AD2}" dt="2022-09-02T09:28:32.206" v="589"/>
          <ac:cxnSpMkLst>
            <pc:docMk/>
            <pc:sldMk cId="3519914290" sldId="736"/>
            <ac:cxnSpMk id="22" creationId="{1EE3CC51-064A-2C66-4E55-8713DD547C8B}"/>
          </ac:cxnSpMkLst>
        </pc:cxnChg>
        <pc:cxnChg chg="add mod">
          <ac:chgData name="Thomas Stensitzki" userId="75cafe6b-2f2a-469b-85c4-eec3b9c972ba" providerId="ADAL" clId="{9C6FE5FE-931F-4020-9063-3CD210EE2AD2}" dt="2022-09-02T09:28:32.206" v="589"/>
          <ac:cxnSpMkLst>
            <pc:docMk/>
            <pc:sldMk cId="3519914290" sldId="736"/>
            <ac:cxnSpMk id="23" creationId="{50DF90CF-88A6-4DD6-04A2-0BFC9C0D6FF6}"/>
          </ac:cxnSpMkLst>
        </pc:cxnChg>
        <pc:cxnChg chg="add del mod">
          <ac:chgData name="Thomas Stensitzki" userId="75cafe6b-2f2a-469b-85c4-eec3b9c972ba" providerId="ADAL" clId="{9C6FE5FE-931F-4020-9063-3CD210EE2AD2}" dt="2022-09-10T15:20:44.462" v="1370" actId="478"/>
          <ac:cxnSpMkLst>
            <pc:docMk/>
            <pc:sldMk cId="3519914290" sldId="736"/>
            <ac:cxnSpMk id="24" creationId="{9289D762-B811-6B15-2BBA-5EC0BBC499CE}"/>
          </ac:cxnSpMkLst>
        </pc:cxnChg>
        <pc:cxnChg chg="add del mod">
          <ac:chgData name="Thomas Stensitzki" userId="75cafe6b-2f2a-469b-85c4-eec3b9c972ba" providerId="ADAL" clId="{9C6FE5FE-931F-4020-9063-3CD210EE2AD2}" dt="2022-09-10T15:20:45.922" v="1371" actId="478"/>
          <ac:cxnSpMkLst>
            <pc:docMk/>
            <pc:sldMk cId="3519914290" sldId="736"/>
            <ac:cxnSpMk id="35" creationId="{B9E7ACC8-A4E9-9B8C-EE13-D1F42A6238F3}"/>
          </ac:cxnSpMkLst>
        </pc:cxnChg>
      </pc:sldChg>
      <pc:sldChg chg="delSp modSp add mod modTransition modAnim">
        <pc:chgData name="Thomas Stensitzki" userId="75cafe6b-2f2a-469b-85c4-eec3b9c972ba" providerId="ADAL" clId="{9C6FE5FE-931F-4020-9063-3CD210EE2AD2}" dt="2022-09-10T15:36:06.286" v="1623"/>
        <pc:sldMkLst>
          <pc:docMk/>
          <pc:sldMk cId="1993803703" sldId="737"/>
        </pc:sldMkLst>
        <pc:spChg chg="mod">
          <ac:chgData name="Thomas Stensitzki" userId="75cafe6b-2f2a-469b-85c4-eec3b9c972ba" providerId="ADAL" clId="{9C6FE5FE-931F-4020-9063-3CD210EE2AD2}" dt="2022-09-10T15:30:55.527" v="1595" actId="20577"/>
          <ac:spMkLst>
            <pc:docMk/>
            <pc:sldMk cId="1993803703" sldId="737"/>
            <ac:spMk id="3" creationId="{E30B2CA8-CCEA-8CB9-2874-A55784F305A0}"/>
          </ac:spMkLst>
        </pc:spChg>
        <pc:spChg chg="del">
          <ac:chgData name="Thomas Stensitzki" userId="75cafe6b-2f2a-469b-85c4-eec3b9c972ba" providerId="ADAL" clId="{9C6FE5FE-931F-4020-9063-3CD210EE2AD2}" dt="2022-09-10T15:19:17.784" v="1363" actId="478"/>
          <ac:spMkLst>
            <pc:docMk/>
            <pc:sldMk cId="1993803703" sldId="737"/>
            <ac:spMk id="5" creationId="{8F48751B-D8E1-319E-A617-E90F1C829D98}"/>
          </ac:spMkLst>
        </pc:spChg>
        <pc:spChg chg="mod">
          <ac:chgData name="Thomas Stensitzki" userId="75cafe6b-2f2a-469b-85c4-eec3b9c972ba" providerId="ADAL" clId="{9C6FE5FE-931F-4020-9063-3CD210EE2AD2}" dt="2022-09-10T15:36:06.286" v="1623"/>
          <ac:spMkLst>
            <pc:docMk/>
            <pc:sldMk cId="1993803703" sldId="737"/>
            <ac:spMk id="10" creationId="{FF19A621-C23B-5A5C-68A9-6E433946FE51}"/>
          </ac:spMkLst>
        </pc:spChg>
        <pc:spChg chg="mod">
          <ac:chgData name="Thomas Stensitzki" userId="75cafe6b-2f2a-469b-85c4-eec3b9c972ba" providerId="ADAL" clId="{9C6FE5FE-931F-4020-9063-3CD210EE2AD2}" dt="2022-09-10T15:35:59.721" v="1620" actId="404"/>
          <ac:spMkLst>
            <pc:docMk/>
            <pc:sldMk cId="1993803703" sldId="737"/>
            <ac:spMk id="21" creationId="{BB7741C7-51F4-A25D-3867-5997EA58C043}"/>
          </ac:spMkLst>
        </pc:spChg>
        <pc:spChg chg="mod">
          <ac:chgData name="Thomas Stensitzki" userId="75cafe6b-2f2a-469b-85c4-eec3b9c972ba" providerId="ADAL" clId="{9C6FE5FE-931F-4020-9063-3CD210EE2AD2}" dt="2022-09-10T15:28:31.924" v="1530" actId="1037"/>
          <ac:spMkLst>
            <pc:docMk/>
            <pc:sldMk cId="1993803703" sldId="737"/>
            <ac:spMk id="33" creationId="{B5559D6C-1616-FD00-42AD-09AD61168AE9}"/>
          </ac:spMkLst>
        </pc:spChg>
        <pc:picChg chg="del">
          <ac:chgData name="Thomas Stensitzki" userId="75cafe6b-2f2a-469b-85c4-eec3b9c972ba" providerId="ADAL" clId="{9C6FE5FE-931F-4020-9063-3CD210EE2AD2}" dt="2022-09-10T15:19:16.971" v="1362" actId="478"/>
          <ac:picMkLst>
            <pc:docMk/>
            <pc:sldMk cId="1993803703" sldId="737"/>
            <ac:picMk id="6" creationId="{E1B4F762-DEA3-DEEF-604E-33052DFD053A}"/>
          </ac:picMkLst>
        </pc:picChg>
        <pc:picChg chg="mod">
          <ac:chgData name="Thomas Stensitzki" userId="75cafe6b-2f2a-469b-85c4-eec3b9c972ba" providerId="ADAL" clId="{9C6FE5FE-931F-4020-9063-3CD210EE2AD2}" dt="2022-09-10T15:19:14.125" v="1361" actId="14826"/>
          <ac:picMkLst>
            <pc:docMk/>
            <pc:sldMk cId="1993803703" sldId="737"/>
            <ac:picMk id="13" creationId="{22B5160A-931F-FC65-5587-65329842A693}"/>
          </ac:picMkLst>
        </pc:picChg>
        <pc:picChg chg="mod">
          <ac:chgData name="Thomas Stensitzki" userId="75cafe6b-2f2a-469b-85c4-eec3b9c972ba" providerId="ADAL" clId="{9C6FE5FE-931F-4020-9063-3CD210EE2AD2}" dt="2022-09-10T15:28:21.664" v="1494" actId="1038"/>
          <ac:picMkLst>
            <pc:docMk/>
            <pc:sldMk cId="1993803703" sldId="737"/>
            <ac:picMk id="25" creationId="{C42E9D43-F7DB-73C7-B9E1-668C9120FEAE}"/>
          </ac:picMkLst>
        </pc:picChg>
        <pc:cxnChg chg="mod">
          <ac:chgData name="Thomas Stensitzki" userId="75cafe6b-2f2a-469b-85c4-eec3b9c972ba" providerId="ADAL" clId="{9C6FE5FE-931F-4020-9063-3CD210EE2AD2}" dt="2022-09-10T15:28:21.664" v="1494" actId="1038"/>
          <ac:cxnSpMkLst>
            <pc:docMk/>
            <pc:sldMk cId="1993803703" sldId="737"/>
            <ac:cxnSpMk id="24" creationId="{9289D762-B811-6B15-2BBA-5EC0BBC499CE}"/>
          </ac:cxnSpMkLst>
        </pc:cxnChg>
      </pc:sldChg>
      <pc:sldChg chg="addSp delSp modSp new mod modTransition modAnim">
        <pc:chgData name="Thomas Stensitzki" userId="75cafe6b-2f2a-469b-85c4-eec3b9c972ba" providerId="ADAL" clId="{9C6FE5FE-931F-4020-9063-3CD210EE2AD2}" dt="2022-09-10T15:39:49.742" v="1699" actId="113"/>
        <pc:sldMkLst>
          <pc:docMk/>
          <pc:sldMk cId="1147695831" sldId="738"/>
        </pc:sldMkLst>
        <pc:spChg chg="mod">
          <ac:chgData name="Thomas Stensitzki" userId="75cafe6b-2f2a-469b-85c4-eec3b9c972ba" providerId="ADAL" clId="{9C6FE5FE-931F-4020-9063-3CD210EE2AD2}" dt="2022-09-02T09:29:26.430" v="614" actId="20577"/>
          <ac:spMkLst>
            <pc:docMk/>
            <pc:sldMk cId="1147695831" sldId="738"/>
            <ac:spMk id="2" creationId="{4BBBDB9D-8F03-37BC-D710-AB0A65E46A87}"/>
          </ac:spMkLst>
        </pc:spChg>
        <pc:spChg chg="del">
          <ac:chgData name="Thomas Stensitzki" userId="75cafe6b-2f2a-469b-85c4-eec3b9c972ba" providerId="ADAL" clId="{9C6FE5FE-931F-4020-9063-3CD210EE2AD2}" dt="2022-09-02T09:29:17.993" v="596" actId="478"/>
          <ac:spMkLst>
            <pc:docMk/>
            <pc:sldMk cId="1147695831" sldId="738"/>
            <ac:spMk id="3" creationId="{274DB3EA-C568-0E52-551A-3E1B59E0FA53}"/>
          </ac:spMkLst>
        </pc:spChg>
        <pc:spChg chg="del">
          <ac:chgData name="Thomas Stensitzki" userId="75cafe6b-2f2a-469b-85c4-eec3b9c972ba" providerId="ADAL" clId="{9C6FE5FE-931F-4020-9063-3CD210EE2AD2}" dt="2022-09-02T09:29:17.993" v="596" actId="478"/>
          <ac:spMkLst>
            <pc:docMk/>
            <pc:sldMk cId="1147695831" sldId="738"/>
            <ac:spMk id="4" creationId="{2DAD355E-82ED-5B2E-D598-E06D7B1FBAAA}"/>
          </ac:spMkLst>
        </pc:spChg>
        <pc:spChg chg="add mod">
          <ac:chgData name="Thomas Stensitzki" userId="75cafe6b-2f2a-469b-85c4-eec3b9c972ba" providerId="ADAL" clId="{9C6FE5FE-931F-4020-9063-3CD210EE2AD2}" dt="2022-09-02T09:29:37.505" v="615"/>
          <ac:spMkLst>
            <pc:docMk/>
            <pc:sldMk cId="1147695831" sldId="738"/>
            <ac:spMk id="5" creationId="{B94085CC-569F-29E1-0226-AABDB27F8737}"/>
          </ac:spMkLst>
        </pc:spChg>
        <pc:spChg chg="mod">
          <ac:chgData name="Thomas Stensitzki" userId="75cafe6b-2f2a-469b-85c4-eec3b9c972ba" providerId="ADAL" clId="{9C6FE5FE-931F-4020-9063-3CD210EE2AD2}" dt="2022-09-09T18:12:19.278" v="970" actId="207"/>
          <ac:spMkLst>
            <pc:docMk/>
            <pc:sldMk cId="1147695831" sldId="738"/>
            <ac:spMk id="7" creationId="{6DEDC6C7-E337-07A9-5320-E95B84B435DD}"/>
          </ac:spMkLst>
        </pc:spChg>
        <pc:spChg chg="mod">
          <ac:chgData name="Thomas Stensitzki" userId="75cafe6b-2f2a-469b-85c4-eec3b9c972ba" providerId="ADAL" clId="{9C6FE5FE-931F-4020-9063-3CD210EE2AD2}" dt="2022-09-02T09:29:37.505" v="615"/>
          <ac:spMkLst>
            <pc:docMk/>
            <pc:sldMk cId="1147695831" sldId="738"/>
            <ac:spMk id="8" creationId="{D7665738-83A0-029C-57F8-7F5C38D27979}"/>
          </ac:spMkLst>
        </pc:spChg>
        <pc:spChg chg="mod">
          <ac:chgData name="Thomas Stensitzki" userId="75cafe6b-2f2a-469b-85c4-eec3b9c972ba" providerId="ADAL" clId="{9C6FE5FE-931F-4020-9063-3CD210EE2AD2}" dt="2022-09-02T09:29:37.505" v="615"/>
          <ac:spMkLst>
            <pc:docMk/>
            <pc:sldMk cId="1147695831" sldId="738"/>
            <ac:spMk id="9" creationId="{B4EC9A6D-128E-F543-794D-077F30119E4A}"/>
          </ac:spMkLst>
        </pc:spChg>
        <pc:spChg chg="mod">
          <ac:chgData name="Thomas Stensitzki" userId="75cafe6b-2f2a-469b-85c4-eec3b9c972ba" providerId="ADAL" clId="{9C6FE5FE-931F-4020-9063-3CD210EE2AD2}" dt="2022-09-10T15:39:46.284" v="1698" actId="113"/>
          <ac:spMkLst>
            <pc:docMk/>
            <pc:sldMk cId="1147695831" sldId="738"/>
            <ac:spMk id="10" creationId="{18352732-AF4A-928A-9332-713D2A66F163}"/>
          </ac:spMkLst>
        </pc:spChg>
        <pc:spChg chg="mod">
          <ac:chgData name="Thomas Stensitzki" userId="75cafe6b-2f2a-469b-85c4-eec3b9c972ba" providerId="ADAL" clId="{9C6FE5FE-931F-4020-9063-3CD210EE2AD2}" dt="2022-09-02T09:29:37.505" v="615"/>
          <ac:spMkLst>
            <pc:docMk/>
            <pc:sldMk cId="1147695831" sldId="738"/>
            <ac:spMk id="12" creationId="{7DC39B37-7FAE-90EA-DCBF-FA4DF727A455}"/>
          </ac:spMkLst>
        </pc:spChg>
        <pc:spChg chg="mod">
          <ac:chgData name="Thomas Stensitzki" userId="75cafe6b-2f2a-469b-85c4-eec3b9c972ba" providerId="ADAL" clId="{9C6FE5FE-931F-4020-9063-3CD210EE2AD2}" dt="2022-09-02T09:29:37.505" v="615"/>
          <ac:spMkLst>
            <pc:docMk/>
            <pc:sldMk cId="1147695831" sldId="738"/>
            <ac:spMk id="13" creationId="{EF034562-79E2-F3C3-266C-06A239F788E1}"/>
          </ac:spMkLst>
        </pc:spChg>
        <pc:spChg chg="mod">
          <ac:chgData name="Thomas Stensitzki" userId="75cafe6b-2f2a-469b-85c4-eec3b9c972ba" providerId="ADAL" clId="{9C6FE5FE-931F-4020-9063-3CD210EE2AD2}" dt="2022-09-02T09:29:37.505" v="615"/>
          <ac:spMkLst>
            <pc:docMk/>
            <pc:sldMk cId="1147695831" sldId="738"/>
            <ac:spMk id="14" creationId="{74BD3E1A-FF67-9D9E-4563-8FFBE1DDF8D4}"/>
          </ac:spMkLst>
        </pc:spChg>
        <pc:spChg chg="mod">
          <ac:chgData name="Thomas Stensitzki" userId="75cafe6b-2f2a-469b-85c4-eec3b9c972ba" providerId="ADAL" clId="{9C6FE5FE-931F-4020-9063-3CD210EE2AD2}" dt="2022-09-02T09:29:37.505" v="615"/>
          <ac:spMkLst>
            <pc:docMk/>
            <pc:sldMk cId="1147695831" sldId="738"/>
            <ac:spMk id="15" creationId="{812E0028-D9E2-6CBC-ECCB-8311338E5E85}"/>
          </ac:spMkLst>
        </pc:spChg>
        <pc:spChg chg="mod">
          <ac:chgData name="Thomas Stensitzki" userId="75cafe6b-2f2a-469b-85c4-eec3b9c972ba" providerId="ADAL" clId="{9C6FE5FE-931F-4020-9063-3CD210EE2AD2}" dt="2022-09-09T18:13:01.804" v="976" actId="207"/>
          <ac:spMkLst>
            <pc:docMk/>
            <pc:sldMk cId="1147695831" sldId="738"/>
            <ac:spMk id="17" creationId="{85C9C709-A495-F933-C64A-086E12B82B15}"/>
          </ac:spMkLst>
        </pc:spChg>
        <pc:spChg chg="mod">
          <ac:chgData name="Thomas Stensitzki" userId="75cafe6b-2f2a-469b-85c4-eec3b9c972ba" providerId="ADAL" clId="{9C6FE5FE-931F-4020-9063-3CD210EE2AD2}" dt="2022-09-09T18:13:05.213" v="977" actId="207"/>
          <ac:spMkLst>
            <pc:docMk/>
            <pc:sldMk cId="1147695831" sldId="738"/>
            <ac:spMk id="18" creationId="{A3376EDC-EEAA-F422-D76F-4EF0CECF75AD}"/>
          </ac:spMkLst>
        </pc:spChg>
        <pc:spChg chg="mod">
          <ac:chgData name="Thomas Stensitzki" userId="75cafe6b-2f2a-469b-85c4-eec3b9c972ba" providerId="ADAL" clId="{9C6FE5FE-931F-4020-9063-3CD210EE2AD2}" dt="2022-09-09T18:12:59.263" v="975" actId="207"/>
          <ac:spMkLst>
            <pc:docMk/>
            <pc:sldMk cId="1147695831" sldId="738"/>
            <ac:spMk id="19" creationId="{A4AFBC7B-AB63-B239-0C64-5B497EC3FC0A}"/>
          </ac:spMkLst>
        </pc:spChg>
        <pc:spChg chg="mod">
          <ac:chgData name="Thomas Stensitzki" userId="75cafe6b-2f2a-469b-85c4-eec3b9c972ba" providerId="ADAL" clId="{9C6FE5FE-931F-4020-9063-3CD210EE2AD2}" dt="2022-09-09T18:13:07.719" v="978" actId="207"/>
          <ac:spMkLst>
            <pc:docMk/>
            <pc:sldMk cId="1147695831" sldId="738"/>
            <ac:spMk id="20" creationId="{95677BE2-95C8-F4BF-977E-4784CDA4A469}"/>
          </ac:spMkLst>
        </pc:spChg>
        <pc:spChg chg="mod">
          <ac:chgData name="Thomas Stensitzki" userId="75cafe6b-2f2a-469b-85c4-eec3b9c972ba" providerId="ADAL" clId="{9C6FE5FE-931F-4020-9063-3CD210EE2AD2}" dt="2022-09-09T18:12:34.060" v="971" actId="207"/>
          <ac:spMkLst>
            <pc:docMk/>
            <pc:sldMk cId="1147695831" sldId="738"/>
            <ac:spMk id="22" creationId="{4F627621-71DD-3BF6-D172-3875E8200019}"/>
          </ac:spMkLst>
        </pc:spChg>
        <pc:spChg chg="mod">
          <ac:chgData name="Thomas Stensitzki" userId="75cafe6b-2f2a-469b-85c4-eec3b9c972ba" providerId="ADAL" clId="{9C6FE5FE-931F-4020-9063-3CD210EE2AD2}" dt="2022-09-09T18:12:43.594" v="974" actId="207"/>
          <ac:spMkLst>
            <pc:docMk/>
            <pc:sldMk cId="1147695831" sldId="738"/>
            <ac:spMk id="23" creationId="{BB468828-7C26-0C2E-5D50-2900577FF91F}"/>
          </ac:spMkLst>
        </pc:spChg>
        <pc:spChg chg="mod">
          <ac:chgData name="Thomas Stensitzki" userId="75cafe6b-2f2a-469b-85c4-eec3b9c972ba" providerId="ADAL" clId="{9C6FE5FE-931F-4020-9063-3CD210EE2AD2}" dt="2022-09-09T18:12:37.368" v="972" actId="207"/>
          <ac:spMkLst>
            <pc:docMk/>
            <pc:sldMk cId="1147695831" sldId="738"/>
            <ac:spMk id="24" creationId="{9C253A7E-361D-C985-30CA-E2EE59827AB9}"/>
          </ac:spMkLst>
        </pc:spChg>
        <pc:spChg chg="mod">
          <ac:chgData name="Thomas Stensitzki" userId="75cafe6b-2f2a-469b-85c4-eec3b9c972ba" providerId="ADAL" clId="{9C6FE5FE-931F-4020-9063-3CD210EE2AD2}" dt="2022-09-10T15:39:49.742" v="1699" actId="113"/>
          <ac:spMkLst>
            <pc:docMk/>
            <pc:sldMk cId="1147695831" sldId="738"/>
            <ac:spMk id="25" creationId="{CDCACA33-1751-BEB7-03F2-9AAEBE0BC0D7}"/>
          </ac:spMkLst>
        </pc:spChg>
        <pc:spChg chg="mod">
          <ac:chgData name="Thomas Stensitzki" userId="75cafe6b-2f2a-469b-85c4-eec3b9c972ba" providerId="ADAL" clId="{9C6FE5FE-931F-4020-9063-3CD210EE2AD2}" dt="2022-09-02T09:29:37.505" v="615"/>
          <ac:spMkLst>
            <pc:docMk/>
            <pc:sldMk cId="1147695831" sldId="738"/>
            <ac:spMk id="27" creationId="{75D74350-60BA-EBB1-172E-1E45EE4471A2}"/>
          </ac:spMkLst>
        </pc:spChg>
        <pc:spChg chg="mod">
          <ac:chgData name="Thomas Stensitzki" userId="75cafe6b-2f2a-469b-85c4-eec3b9c972ba" providerId="ADAL" clId="{9C6FE5FE-931F-4020-9063-3CD210EE2AD2}" dt="2022-09-02T09:29:37.505" v="615"/>
          <ac:spMkLst>
            <pc:docMk/>
            <pc:sldMk cId="1147695831" sldId="738"/>
            <ac:spMk id="28" creationId="{3E043127-C2D2-68A4-BCF0-73E3C8FAFD2C}"/>
          </ac:spMkLst>
        </pc:spChg>
        <pc:spChg chg="mod">
          <ac:chgData name="Thomas Stensitzki" userId="75cafe6b-2f2a-469b-85c4-eec3b9c972ba" providerId="ADAL" clId="{9C6FE5FE-931F-4020-9063-3CD210EE2AD2}" dt="2022-09-02T09:29:37.505" v="615"/>
          <ac:spMkLst>
            <pc:docMk/>
            <pc:sldMk cId="1147695831" sldId="738"/>
            <ac:spMk id="29" creationId="{4505C13A-5D1D-8C2F-1494-18FCA2F39DA3}"/>
          </ac:spMkLst>
        </pc:spChg>
        <pc:spChg chg="mod">
          <ac:chgData name="Thomas Stensitzki" userId="75cafe6b-2f2a-469b-85c4-eec3b9c972ba" providerId="ADAL" clId="{9C6FE5FE-931F-4020-9063-3CD210EE2AD2}" dt="2022-09-02T09:29:37.505" v="615"/>
          <ac:spMkLst>
            <pc:docMk/>
            <pc:sldMk cId="1147695831" sldId="738"/>
            <ac:spMk id="30" creationId="{751EDA93-9FEB-096E-FEE7-AA66D0F8ED3B}"/>
          </ac:spMkLst>
        </pc:spChg>
        <pc:grpChg chg="add mod">
          <ac:chgData name="Thomas Stensitzki" userId="75cafe6b-2f2a-469b-85c4-eec3b9c972ba" providerId="ADAL" clId="{9C6FE5FE-931F-4020-9063-3CD210EE2AD2}" dt="2022-09-02T09:29:37.505" v="615"/>
          <ac:grpSpMkLst>
            <pc:docMk/>
            <pc:sldMk cId="1147695831" sldId="738"/>
            <ac:grpSpMk id="6" creationId="{495E338F-610D-F026-71F9-59547078E9F3}"/>
          </ac:grpSpMkLst>
        </pc:grpChg>
        <pc:grpChg chg="add mod">
          <ac:chgData name="Thomas Stensitzki" userId="75cafe6b-2f2a-469b-85c4-eec3b9c972ba" providerId="ADAL" clId="{9C6FE5FE-931F-4020-9063-3CD210EE2AD2}" dt="2022-09-02T09:29:37.505" v="615"/>
          <ac:grpSpMkLst>
            <pc:docMk/>
            <pc:sldMk cId="1147695831" sldId="738"/>
            <ac:grpSpMk id="11" creationId="{FB6AB608-FCA3-D00E-F697-FF7A848AD46F}"/>
          </ac:grpSpMkLst>
        </pc:grpChg>
        <pc:grpChg chg="add mod">
          <ac:chgData name="Thomas Stensitzki" userId="75cafe6b-2f2a-469b-85c4-eec3b9c972ba" providerId="ADAL" clId="{9C6FE5FE-931F-4020-9063-3CD210EE2AD2}" dt="2022-09-02T09:29:37.505" v="615"/>
          <ac:grpSpMkLst>
            <pc:docMk/>
            <pc:sldMk cId="1147695831" sldId="738"/>
            <ac:grpSpMk id="16" creationId="{390F054F-97D8-AA15-D59F-D85F4238C60B}"/>
          </ac:grpSpMkLst>
        </pc:grpChg>
        <pc:grpChg chg="add mod">
          <ac:chgData name="Thomas Stensitzki" userId="75cafe6b-2f2a-469b-85c4-eec3b9c972ba" providerId="ADAL" clId="{9C6FE5FE-931F-4020-9063-3CD210EE2AD2}" dt="2022-09-02T09:29:37.505" v="615"/>
          <ac:grpSpMkLst>
            <pc:docMk/>
            <pc:sldMk cId="1147695831" sldId="738"/>
            <ac:grpSpMk id="21" creationId="{A9BCF185-81D2-A6AE-88C8-536BDDF6A76D}"/>
          </ac:grpSpMkLst>
        </pc:grpChg>
        <pc:grpChg chg="add mod">
          <ac:chgData name="Thomas Stensitzki" userId="75cafe6b-2f2a-469b-85c4-eec3b9c972ba" providerId="ADAL" clId="{9C6FE5FE-931F-4020-9063-3CD210EE2AD2}" dt="2022-09-09T18:13:20.178" v="979" actId="207"/>
          <ac:grpSpMkLst>
            <pc:docMk/>
            <pc:sldMk cId="1147695831" sldId="738"/>
            <ac:grpSpMk id="26" creationId="{AC2E8CC7-D5ED-F1DF-FD53-067B42F9BDA1}"/>
          </ac:grpSpMkLst>
        </pc:grpChg>
        <pc:picChg chg="add mod">
          <ac:chgData name="Thomas Stensitzki" userId="75cafe6b-2f2a-469b-85c4-eec3b9c972ba" providerId="ADAL" clId="{9C6FE5FE-931F-4020-9063-3CD210EE2AD2}" dt="2022-09-09T18:13:55.136" v="984" actId="14100"/>
          <ac:picMkLst>
            <pc:docMk/>
            <pc:sldMk cId="1147695831" sldId="738"/>
            <ac:picMk id="3" creationId="{0A7BED95-6C81-557A-277A-E3FC618D2A08}"/>
          </ac:picMkLst>
        </pc:picChg>
        <pc:picChg chg="add mod">
          <ac:chgData name="Thomas Stensitzki" userId="75cafe6b-2f2a-469b-85c4-eec3b9c972ba" providerId="ADAL" clId="{9C6FE5FE-931F-4020-9063-3CD210EE2AD2}" dt="2022-09-09T18:14:19.857" v="989" actId="14100"/>
          <ac:picMkLst>
            <pc:docMk/>
            <pc:sldMk cId="1147695831" sldId="738"/>
            <ac:picMk id="4" creationId="{DC83FF62-4EEC-11E2-7705-6802C0D248F0}"/>
          </ac:picMkLst>
        </pc:picChg>
        <pc:picChg chg="add del mod">
          <ac:chgData name="Thomas Stensitzki" userId="75cafe6b-2f2a-469b-85c4-eec3b9c972ba" providerId="ADAL" clId="{9C6FE5FE-931F-4020-9063-3CD210EE2AD2}" dt="2022-09-09T18:13:57.412" v="985" actId="478"/>
          <ac:picMkLst>
            <pc:docMk/>
            <pc:sldMk cId="1147695831" sldId="738"/>
            <ac:picMk id="31" creationId="{75217431-E73D-6756-6A01-7BFF4836E0BC}"/>
          </ac:picMkLst>
        </pc:picChg>
        <pc:picChg chg="add del mod">
          <ac:chgData name="Thomas Stensitzki" userId="75cafe6b-2f2a-469b-85c4-eec3b9c972ba" providerId="ADAL" clId="{9C6FE5FE-931F-4020-9063-3CD210EE2AD2}" dt="2022-09-09T18:13:30.045" v="980" actId="478"/>
          <ac:picMkLst>
            <pc:docMk/>
            <pc:sldMk cId="1147695831" sldId="738"/>
            <ac:picMk id="32" creationId="{B016F320-2A00-9FA0-11E1-84CEC4B48F13}"/>
          </ac:picMkLst>
        </pc:picChg>
      </pc:sldChg>
      <pc:sldChg chg="addSp delSp modSp new mod modTransition">
        <pc:chgData name="Thomas Stensitzki" userId="75cafe6b-2f2a-469b-85c4-eec3b9c972ba" providerId="ADAL" clId="{9C6FE5FE-931F-4020-9063-3CD210EE2AD2}" dt="2022-09-09T18:02:52.448" v="960"/>
        <pc:sldMkLst>
          <pc:docMk/>
          <pc:sldMk cId="3493626817" sldId="739"/>
        </pc:sldMkLst>
        <pc:spChg chg="mod">
          <ac:chgData name="Thomas Stensitzki" userId="75cafe6b-2f2a-469b-85c4-eec3b9c972ba" providerId="ADAL" clId="{9C6FE5FE-931F-4020-9063-3CD210EE2AD2}" dt="2022-09-02T09:30:24.972" v="632" actId="20577"/>
          <ac:spMkLst>
            <pc:docMk/>
            <pc:sldMk cId="3493626817" sldId="739"/>
            <ac:spMk id="2" creationId="{4C6F75EA-BA65-86B5-5F78-2146F406573B}"/>
          </ac:spMkLst>
        </pc:spChg>
        <pc:spChg chg="del">
          <ac:chgData name="Thomas Stensitzki" userId="75cafe6b-2f2a-469b-85c4-eec3b9c972ba" providerId="ADAL" clId="{9C6FE5FE-931F-4020-9063-3CD210EE2AD2}" dt="2022-09-02T09:30:29.078" v="633" actId="478"/>
          <ac:spMkLst>
            <pc:docMk/>
            <pc:sldMk cId="3493626817" sldId="739"/>
            <ac:spMk id="3" creationId="{12617C7F-36CE-4554-DB98-5277F14DC81B}"/>
          </ac:spMkLst>
        </pc:spChg>
        <pc:spChg chg="del">
          <ac:chgData name="Thomas Stensitzki" userId="75cafe6b-2f2a-469b-85c4-eec3b9c972ba" providerId="ADAL" clId="{9C6FE5FE-931F-4020-9063-3CD210EE2AD2}" dt="2022-09-02T09:30:31.291" v="634" actId="478"/>
          <ac:spMkLst>
            <pc:docMk/>
            <pc:sldMk cId="3493626817" sldId="739"/>
            <ac:spMk id="4" creationId="{A6263819-021D-2684-3AFB-C61350B80470}"/>
          </ac:spMkLst>
        </pc:spChg>
        <pc:picChg chg="add mod">
          <ac:chgData name="Thomas Stensitzki" userId="75cafe6b-2f2a-469b-85c4-eec3b9c972ba" providerId="ADAL" clId="{9C6FE5FE-931F-4020-9063-3CD210EE2AD2}" dt="2022-09-02T09:33:07.726" v="638" actId="1367"/>
          <ac:picMkLst>
            <pc:docMk/>
            <pc:sldMk cId="3493626817" sldId="739"/>
            <ac:picMk id="5" creationId="{0EFC0DA1-019C-82F8-1A6B-D456403B649D}"/>
          </ac:picMkLst>
        </pc:picChg>
      </pc:sldChg>
      <pc:sldChg chg="modSp add mod ord modTransition">
        <pc:chgData name="Thomas Stensitzki" userId="75cafe6b-2f2a-469b-85c4-eec3b9c972ba" providerId="ADAL" clId="{9C6FE5FE-931F-4020-9063-3CD210EE2AD2}" dt="2022-09-10T16:16:59.161" v="2735" actId="20577"/>
        <pc:sldMkLst>
          <pc:docMk/>
          <pc:sldMk cId="2571841009" sldId="740"/>
        </pc:sldMkLst>
        <pc:spChg chg="mod">
          <ac:chgData name="Thomas Stensitzki" userId="75cafe6b-2f2a-469b-85c4-eec3b9c972ba" providerId="ADAL" clId="{9C6FE5FE-931F-4020-9063-3CD210EE2AD2}" dt="2022-09-02T09:46:27.359" v="673" actId="20577"/>
          <ac:spMkLst>
            <pc:docMk/>
            <pc:sldMk cId="2571841009" sldId="740"/>
            <ac:spMk id="2" creationId="{7262A795-AAF1-319D-DC9F-6228E231F250}"/>
          </ac:spMkLst>
        </pc:spChg>
        <pc:spChg chg="mod">
          <ac:chgData name="Thomas Stensitzki" userId="75cafe6b-2f2a-469b-85c4-eec3b9c972ba" providerId="ADAL" clId="{9C6FE5FE-931F-4020-9063-3CD210EE2AD2}" dt="2022-09-10T16:16:59.161" v="2735" actId="20577"/>
          <ac:spMkLst>
            <pc:docMk/>
            <pc:sldMk cId="2571841009" sldId="740"/>
            <ac:spMk id="3" creationId="{E787C40D-FB3A-794D-722F-A25C53C119FE}"/>
          </ac:spMkLst>
        </pc:spChg>
      </pc:sldChg>
      <pc:sldChg chg="addSp delSp modSp new mod modTransition modClrScheme modAnim chgLayout">
        <pc:chgData name="Thomas Stensitzki" userId="75cafe6b-2f2a-469b-85c4-eec3b9c972ba" providerId="ADAL" clId="{9C6FE5FE-931F-4020-9063-3CD210EE2AD2}" dt="2022-09-10T16:18:18.014" v="2817" actId="6549"/>
        <pc:sldMkLst>
          <pc:docMk/>
          <pc:sldMk cId="3239100969" sldId="741"/>
        </pc:sldMkLst>
        <pc:spChg chg="del mod ord">
          <ac:chgData name="Thomas Stensitzki" userId="75cafe6b-2f2a-469b-85c4-eec3b9c972ba" providerId="ADAL" clId="{9C6FE5FE-931F-4020-9063-3CD210EE2AD2}" dt="2022-09-02T10:02:51.014" v="675" actId="700"/>
          <ac:spMkLst>
            <pc:docMk/>
            <pc:sldMk cId="3239100969" sldId="741"/>
            <ac:spMk id="2" creationId="{A78326E9-4572-E4DA-A005-2FEBB5B7310C}"/>
          </ac:spMkLst>
        </pc:spChg>
        <pc:spChg chg="del mod ord">
          <ac:chgData name="Thomas Stensitzki" userId="75cafe6b-2f2a-469b-85c4-eec3b9c972ba" providerId="ADAL" clId="{9C6FE5FE-931F-4020-9063-3CD210EE2AD2}" dt="2022-09-02T10:02:51.014" v="675" actId="700"/>
          <ac:spMkLst>
            <pc:docMk/>
            <pc:sldMk cId="3239100969" sldId="741"/>
            <ac:spMk id="3" creationId="{D712E095-9292-4D57-AEE8-7E5EBA8EF6E2}"/>
          </ac:spMkLst>
        </pc:spChg>
        <pc:spChg chg="add mod ord">
          <ac:chgData name="Thomas Stensitzki" userId="75cafe6b-2f2a-469b-85c4-eec3b9c972ba" providerId="ADAL" clId="{9C6FE5FE-931F-4020-9063-3CD210EE2AD2}" dt="2022-09-10T16:16:23.433" v="2733" actId="20577"/>
          <ac:spMkLst>
            <pc:docMk/>
            <pc:sldMk cId="3239100969" sldId="741"/>
            <ac:spMk id="4" creationId="{E979D8B2-9A16-B19A-EBB9-D8DA3257C0F1}"/>
          </ac:spMkLst>
        </pc:spChg>
        <pc:spChg chg="add mod ord">
          <ac:chgData name="Thomas Stensitzki" userId="75cafe6b-2f2a-469b-85c4-eec3b9c972ba" providerId="ADAL" clId="{9C6FE5FE-931F-4020-9063-3CD210EE2AD2}" dt="2022-09-10T16:18:18.014" v="2817" actId="6549"/>
          <ac:spMkLst>
            <pc:docMk/>
            <pc:sldMk cId="3239100969" sldId="741"/>
            <ac:spMk id="5" creationId="{8666327E-0CC1-F468-C0E6-F356383B6A7F}"/>
          </ac:spMkLst>
        </pc:spChg>
      </pc:sldChg>
      <pc:sldChg chg="addSp delSp modSp new mod modTransition modAnim">
        <pc:chgData name="Thomas Stensitzki" userId="75cafe6b-2f2a-469b-85c4-eec3b9c972ba" providerId="ADAL" clId="{9C6FE5FE-931F-4020-9063-3CD210EE2AD2}" dt="2022-09-10T16:08:27.135" v="2540"/>
        <pc:sldMkLst>
          <pc:docMk/>
          <pc:sldMk cId="3961668550" sldId="742"/>
        </pc:sldMkLst>
        <pc:spChg chg="mod">
          <ac:chgData name="Thomas Stensitzki" userId="75cafe6b-2f2a-469b-85c4-eec3b9c972ba" providerId="ADAL" clId="{9C6FE5FE-931F-4020-9063-3CD210EE2AD2}" dt="2022-09-10T15:48:31.804" v="1749" actId="1076"/>
          <ac:spMkLst>
            <pc:docMk/>
            <pc:sldMk cId="3961668550" sldId="742"/>
            <ac:spMk id="2" creationId="{B6A2319F-6B2E-F182-B997-D09D218AD28D}"/>
          </ac:spMkLst>
        </pc:spChg>
        <pc:spChg chg="del">
          <ac:chgData name="Thomas Stensitzki" userId="75cafe6b-2f2a-469b-85c4-eec3b9c972ba" providerId="ADAL" clId="{9C6FE5FE-931F-4020-9063-3CD210EE2AD2}" dt="2022-09-10T15:42:02.388" v="1700" actId="478"/>
          <ac:spMkLst>
            <pc:docMk/>
            <pc:sldMk cId="3961668550" sldId="742"/>
            <ac:spMk id="3" creationId="{DB1A5318-DC9B-73FA-241A-F005DF9CCC7D}"/>
          </ac:spMkLst>
        </pc:spChg>
        <pc:spChg chg="del">
          <ac:chgData name="Thomas Stensitzki" userId="75cafe6b-2f2a-469b-85c4-eec3b9c972ba" providerId="ADAL" clId="{9C6FE5FE-931F-4020-9063-3CD210EE2AD2}" dt="2022-09-10T15:42:04.224" v="1701" actId="478"/>
          <ac:spMkLst>
            <pc:docMk/>
            <pc:sldMk cId="3961668550" sldId="742"/>
            <ac:spMk id="4" creationId="{9ABB3605-AC10-C2F6-FEEB-4DC2B50AFDE0}"/>
          </ac:spMkLst>
        </pc:spChg>
        <pc:spChg chg="add del mod">
          <ac:chgData name="Thomas Stensitzki" userId="75cafe6b-2f2a-469b-85c4-eec3b9c972ba" providerId="ADAL" clId="{9C6FE5FE-931F-4020-9063-3CD210EE2AD2}" dt="2022-09-10T15:51:06.404" v="1764" actId="478"/>
          <ac:spMkLst>
            <pc:docMk/>
            <pc:sldMk cId="3961668550" sldId="742"/>
            <ac:spMk id="10" creationId="{C97CB1C6-D39F-3990-C30F-89E3E471F8B4}"/>
          </ac:spMkLst>
        </pc:spChg>
        <pc:spChg chg="add mod">
          <ac:chgData name="Thomas Stensitzki" userId="75cafe6b-2f2a-469b-85c4-eec3b9c972ba" providerId="ADAL" clId="{9C6FE5FE-931F-4020-9063-3CD210EE2AD2}" dt="2022-09-10T15:48:44.874" v="1750" actId="164"/>
          <ac:spMkLst>
            <pc:docMk/>
            <pc:sldMk cId="3961668550" sldId="742"/>
            <ac:spMk id="18" creationId="{0858DD12-AC96-31FF-6C0A-0BFB68FA33B1}"/>
          </ac:spMkLst>
        </pc:spChg>
        <pc:spChg chg="add mod">
          <ac:chgData name="Thomas Stensitzki" userId="75cafe6b-2f2a-469b-85c4-eec3b9c972ba" providerId="ADAL" clId="{9C6FE5FE-931F-4020-9063-3CD210EE2AD2}" dt="2022-09-10T15:49:20.985" v="1753" actId="1076"/>
          <ac:spMkLst>
            <pc:docMk/>
            <pc:sldMk cId="3961668550" sldId="742"/>
            <ac:spMk id="22" creationId="{D04FE445-AA37-24C7-7F4F-9323095EC82F}"/>
          </ac:spMkLst>
        </pc:spChg>
        <pc:spChg chg="mod">
          <ac:chgData name="Thomas Stensitzki" userId="75cafe6b-2f2a-469b-85c4-eec3b9c972ba" providerId="ADAL" clId="{9C6FE5FE-931F-4020-9063-3CD210EE2AD2}" dt="2022-09-10T15:49:08.158" v="1752"/>
          <ac:spMkLst>
            <pc:docMk/>
            <pc:sldMk cId="3961668550" sldId="742"/>
            <ac:spMk id="30" creationId="{9EF1305D-BDE8-BBEC-926A-3B7F02E51F16}"/>
          </ac:spMkLst>
        </pc:spChg>
        <pc:spChg chg="add del mod">
          <ac:chgData name="Thomas Stensitzki" userId="75cafe6b-2f2a-469b-85c4-eec3b9c972ba" providerId="ADAL" clId="{9C6FE5FE-931F-4020-9063-3CD210EE2AD2}" dt="2022-09-10T15:54:08.860" v="2114" actId="478"/>
          <ac:spMkLst>
            <pc:docMk/>
            <pc:sldMk cId="3961668550" sldId="742"/>
            <ac:spMk id="36" creationId="{FDBE657B-B564-B724-4279-558E7A139AD8}"/>
          </ac:spMkLst>
        </pc:spChg>
        <pc:spChg chg="add del mod">
          <ac:chgData name="Thomas Stensitzki" userId="75cafe6b-2f2a-469b-85c4-eec3b9c972ba" providerId="ADAL" clId="{9C6FE5FE-931F-4020-9063-3CD210EE2AD2}" dt="2022-09-10T15:54:11.579" v="2115" actId="478"/>
          <ac:spMkLst>
            <pc:docMk/>
            <pc:sldMk cId="3961668550" sldId="742"/>
            <ac:spMk id="38" creationId="{5B5FA918-F70D-9A1E-F3CE-DD1EF3D92129}"/>
          </ac:spMkLst>
        </pc:spChg>
        <pc:spChg chg="add mod">
          <ac:chgData name="Thomas Stensitzki" userId="75cafe6b-2f2a-469b-85c4-eec3b9c972ba" providerId="ADAL" clId="{9C6FE5FE-931F-4020-9063-3CD210EE2AD2}" dt="2022-09-10T15:57:24.520" v="2202" actId="20577"/>
          <ac:spMkLst>
            <pc:docMk/>
            <pc:sldMk cId="3961668550" sldId="742"/>
            <ac:spMk id="39" creationId="{767480F7-7FE9-1E94-9017-5EBBDEE3A48A}"/>
          </ac:spMkLst>
        </pc:spChg>
        <pc:grpChg chg="add del mod">
          <ac:chgData name="Thomas Stensitzki" userId="75cafe6b-2f2a-469b-85c4-eec3b9c972ba" providerId="ADAL" clId="{9C6FE5FE-931F-4020-9063-3CD210EE2AD2}" dt="2022-09-10T15:51:06.404" v="1764" actId="478"/>
          <ac:grpSpMkLst>
            <pc:docMk/>
            <pc:sldMk cId="3961668550" sldId="742"/>
            <ac:grpSpMk id="19" creationId="{6C5229C4-3484-A0B9-DB96-CFA27475978C}"/>
          </ac:grpSpMkLst>
        </pc:grpChg>
        <pc:grpChg chg="add del mod">
          <ac:chgData name="Thomas Stensitzki" userId="75cafe6b-2f2a-469b-85c4-eec3b9c972ba" providerId="ADAL" clId="{9C6FE5FE-931F-4020-9063-3CD210EE2AD2}" dt="2022-09-10T15:51:06.404" v="1764" actId="478"/>
          <ac:grpSpMkLst>
            <pc:docMk/>
            <pc:sldMk cId="3961668550" sldId="742"/>
            <ac:grpSpMk id="20" creationId="{872EB378-83DD-A108-942A-E6379E57B4E8}"/>
          </ac:grpSpMkLst>
        </pc:grpChg>
        <pc:grpChg chg="add mod">
          <ac:chgData name="Thomas Stensitzki" userId="75cafe6b-2f2a-469b-85c4-eec3b9c972ba" providerId="ADAL" clId="{9C6FE5FE-931F-4020-9063-3CD210EE2AD2}" dt="2022-09-10T15:49:20.985" v="1753" actId="1076"/>
          <ac:grpSpMkLst>
            <pc:docMk/>
            <pc:sldMk cId="3961668550" sldId="742"/>
            <ac:grpSpMk id="23" creationId="{E9ADE36E-01D8-67C7-9B58-2CF3E862D431}"/>
          </ac:grpSpMkLst>
        </pc:grpChg>
        <pc:grpChg chg="add mod">
          <ac:chgData name="Thomas Stensitzki" userId="75cafe6b-2f2a-469b-85c4-eec3b9c972ba" providerId="ADAL" clId="{9C6FE5FE-931F-4020-9063-3CD210EE2AD2}" dt="2022-09-10T15:49:20.985" v="1753" actId="1076"/>
          <ac:grpSpMkLst>
            <pc:docMk/>
            <pc:sldMk cId="3961668550" sldId="742"/>
            <ac:grpSpMk id="28" creationId="{9DA09585-4319-6B05-3CE5-62FDF2AC113A}"/>
          </ac:grpSpMkLst>
        </pc:grpChg>
        <pc:picChg chg="add del mod">
          <ac:chgData name="Thomas Stensitzki" userId="75cafe6b-2f2a-469b-85c4-eec3b9c972ba" providerId="ADAL" clId="{9C6FE5FE-931F-4020-9063-3CD210EE2AD2}" dt="2022-09-10T15:51:06.404" v="1764" actId="478"/>
          <ac:picMkLst>
            <pc:docMk/>
            <pc:sldMk cId="3961668550" sldId="742"/>
            <ac:picMk id="6" creationId="{302ABC0E-52A2-561B-9EC0-9E4D245B6BF1}"/>
          </ac:picMkLst>
        </pc:picChg>
        <pc:picChg chg="add mod">
          <ac:chgData name="Thomas Stensitzki" userId="75cafe6b-2f2a-469b-85c4-eec3b9c972ba" providerId="ADAL" clId="{9C6FE5FE-931F-4020-9063-3CD210EE2AD2}" dt="2022-09-10T15:48:44.874" v="1750" actId="164"/>
          <ac:picMkLst>
            <pc:docMk/>
            <pc:sldMk cId="3961668550" sldId="742"/>
            <ac:picMk id="8" creationId="{384396CD-9ABA-3ABF-BB75-54250BAE013D}"/>
          </ac:picMkLst>
        </pc:picChg>
        <pc:picChg chg="add mod">
          <ac:chgData name="Thomas Stensitzki" userId="75cafe6b-2f2a-469b-85c4-eec3b9c972ba" providerId="ADAL" clId="{9C6FE5FE-931F-4020-9063-3CD210EE2AD2}" dt="2022-09-10T15:48:57.388" v="1751" actId="164"/>
          <ac:picMkLst>
            <pc:docMk/>
            <pc:sldMk cId="3961668550" sldId="742"/>
            <ac:picMk id="9" creationId="{7BB91BE2-D2EF-AA8E-AAB6-D12C51F95B09}"/>
          </ac:picMkLst>
        </pc:picChg>
        <pc:picChg chg="add mod">
          <ac:chgData name="Thomas Stensitzki" userId="75cafe6b-2f2a-469b-85c4-eec3b9c972ba" providerId="ADAL" clId="{9C6FE5FE-931F-4020-9063-3CD210EE2AD2}" dt="2022-09-10T15:48:57.388" v="1751" actId="164"/>
          <ac:picMkLst>
            <pc:docMk/>
            <pc:sldMk cId="3961668550" sldId="742"/>
            <ac:picMk id="12" creationId="{5A9EAAED-4CDD-D090-19A4-F9D44342AC0A}"/>
          </ac:picMkLst>
        </pc:picChg>
        <pc:picChg chg="add mod">
          <ac:chgData name="Thomas Stensitzki" userId="75cafe6b-2f2a-469b-85c4-eec3b9c972ba" providerId="ADAL" clId="{9C6FE5FE-931F-4020-9063-3CD210EE2AD2}" dt="2022-09-10T15:49:20.985" v="1753" actId="1076"/>
          <ac:picMkLst>
            <pc:docMk/>
            <pc:sldMk cId="3961668550" sldId="742"/>
            <ac:picMk id="21" creationId="{727FCDE3-9717-EC35-8F1B-19A7BA06682C}"/>
          </ac:picMkLst>
        </pc:picChg>
        <pc:picChg chg="mod">
          <ac:chgData name="Thomas Stensitzki" userId="75cafe6b-2f2a-469b-85c4-eec3b9c972ba" providerId="ADAL" clId="{9C6FE5FE-931F-4020-9063-3CD210EE2AD2}" dt="2022-09-10T15:49:08.158" v="1752"/>
          <ac:picMkLst>
            <pc:docMk/>
            <pc:sldMk cId="3961668550" sldId="742"/>
            <ac:picMk id="24" creationId="{8CAA6708-B005-6C70-1BCB-59CB4E46C11D}"/>
          </ac:picMkLst>
        </pc:picChg>
        <pc:picChg chg="mod">
          <ac:chgData name="Thomas Stensitzki" userId="75cafe6b-2f2a-469b-85c4-eec3b9c972ba" providerId="ADAL" clId="{9C6FE5FE-931F-4020-9063-3CD210EE2AD2}" dt="2022-09-10T15:49:08.158" v="1752"/>
          <ac:picMkLst>
            <pc:docMk/>
            <pc:sldMk cId="3961668550" sldId="742"/>
            <ac:picMk id="25" creationId="{B1651326-EC27-5CF2-8BC3-3DE37C8CA4C5}"/>
          </ac:picMkLst>
        </pc:picChg>
        <pc:picChg chg="mod">
          <ac:chgData name="Thomas Stensitzki" userId="75cafe6b-2f2a-469b-85c4-eec3b9c972ba" providerId="ADAL" clId="{9C6FE5FE-931F-4020-9063-3CD210EE2AD2}" dt="2022-09-10T15:49:08.158" v="1752"/>
          <ac:picMkLst>
            <pc:docMk/>
            <pc:sldMk cId="3961668550" sldId="742"/>
            <ac:picMk id="29" creationId="{E5C2CE2C-8999-1F7C-C374-AE18BAC63E9F}"/>
          </ac:picMkLst>
        </pc:picChg>
        <pc:picChg chg="add mod">
          <ac:chgData name="Thomas Stensitzki" userId="75cafe6b-2f2a-469b-85c4-eec3b9c972ba" providerId="ADAL" clId="{9C6FE5FE-931F-4020-9063-3CD210EE2AD2}" dt="2022-09-10T16:04:44.819" v="2528" actId="1076"/>
          <ac:picMkLst>
            <pc:docMk/>
            <pc:sldMk cId="3961668550" sldId="742"/>
            <ac:picMk id="40" creationId="{1045E55D-E058-4BD2-82B8-D1FD14F34865}"/>
          </ac:picMkLst>
        </pc:picChg>
        <pc:cxnChg chg="add mod">
          <ac:chgData name="Thomas Stensitzki" userId="75cafe6b-2f2a-469b-85c4-eec3b9c972ba" providerId="ADAL" clId="{9C6FE5FE-931F-4020-9063-3CD210EE2AD2}" dt="2022-09-10T15:51:02.983" v="1763" actId="14100"/>
          <ac:cxnSpMkLst>
            <pc:docMk/>
            <pc:sldMk cId="3961668550" sldId="742"/>
            <ac:cxnSpMk id="14" creationId="{89DA9212-06F5-14EB-AFCE-562BFF48AD20}"/>
          </ac:cxnSpMkLst>
        </pc:cxnChg>
        <pc:cxnChg chg="add del mod">
          <ac:chgData name="Thomas Stensitzki" userId="75cafe6b-2f2a-469b-85c4-eec3b9c972ba" providerId="ADAL" clId="{9C6FE5FE-931F-4020-9063-3CD210EE2AD2}" dt="2022-09-10T15:51:06.404" v="1764" actId="478"/>
          <ac:cxnSpMkLst>
            <pc:docMk/>
            <pc:sldMk cId="3961668550" sldId="742"/>
            <ac:cxnSpMk id="15" creationId="{0C89890C-FAE2-BB5A-DC45-3BE7F3832100}"/>
          </ac:cxnSpMkLst>
        </pc:cxnChg>
        <pc:cxnChg chg="add del mod">
          <ac:chgData name="Thomas Stensitzki" userId="75cafe6b-2f2a-469b-85c4-eec3b9c972ba" providerId="ADAL" clId="{9C6FE5FE-931F-4020-9063-3CD210EE2AD2}" dt="2022-09-10T15:50:55.790" v="1760" actId="478"/>
          <ac:cxnSpMkLst>
            <pc:docMk/>
            <pc:sldMk cId="3961668550" sldId="742"/>
            <ac:cxnSpMk id="26" creationId="{70C97E8E-AE84-6E3B-9AB4-701988696BA7}"/>
          </ac:cxnSpMkLst>
        </pc:cxnChg>
        <pc:cxnChg chg="add mod">
          <ac:chgData name="Thomas Stensitzki" userId="75cafe6b-2f2a-469b-85c4-eec3b9c972ba" providerId="ADAL" clId="{9C6FE5FE-931F-4020-9063-3CD210EE2AD2}" dt="2022-09-10T15:49:20.985" v="1753" actId="1076"/>
          <ac:cxnSpMkLst>
            <pc:docMk/>
            <pc:sldMk cId="3961668550" sldId="742"/>
            <ac:cxnSpMk id="27" creationId="{38286CF7-6DFE-5968-6B3B-1EA9196E3CDB}"/>
          </ac:cxnSpMkLst>
        </pc:cxnChg>
      </pc:sldChg>
      <pc:sldChg chg="add ord modTransition">
        <pc:chgData name="Thomas Stensitzki" userId="75cafe6b-2f2a-469b-85c4-eec3b9c972ba" providerId="ADAL" clId="{9C6FE5FE-931F-4020-9063-3CD210EE2AD2}" dt="2022-09-09T18:02:52.448" v="960"/>
        <pc:sldMkLst>
          <pc:docMk/>
          <pc:sldMk cId="3146967511" sldId="743"/>
        </pc:sldMkLst>
      </pc:sldChg>
      <pc:sldChg chg="modSp add mod modTransition modAnim">
        <pc:chgData name="Thomas Stensitzki" userId="75cafe6b-2f2a-469b-85c4-eec3b9c972ba" providerId="ADAL" clId="{9C6FE5FE-931F-4020-9063-3CD210EE2AD2}" dt="2022-09-10T16:16:28.516" v="2734"/>
        <pc:sldMkLst>
          <pc:docMk/>
          <pc:sldMk cId="3106313193" sldId="744"/>
        </pc:sldMkLst>
        <pc:spChg chg="mod">
          <ac:chgData name="Thomas Stensitzki" userId="75cafe6b-2f2a-469b-85c4-eec3b9c972ba" providerId="ADAL" clId="{9C6FE5FE-931F-4020-9063-3CD210EE2AD2}" dt="2022-09-10T16:16:28.516" v="2734"/>
          <ac:spMkLst>
            <pc:docMk/>
            <pc:sldMk cId="3106313193" sldId="744"/>
            <ac:spMk id="4" creationId="{E979D8B2-9A16-B19A-EBB9-D8DA3257C0F1}"/>
          </ac:spMkLst>
        </pc:spChg>
        <pc:spChg chg="mod">
          <ac:chgData name="Thomas Stensitzki" userId="75cafe6b-2f2a-469b-85c4-eec3b9c972ba" providerId="ADAL" clId="{9C6FE5FE-931F-4020-9063-3CD210EE2AD2}" dt="2022-09-02T10:05:41.026" v="723" actId="6549"/>
          <ac:spMkLst>
            <pc:docMk/>
            <pc:sldMk cId="3106313193" sldId="744"/>
            <ac:spMk id="5" creationId="{8666327E-0CC1-F468-C0E6-F356383B6A7F}"/>
          </ac:spMkLst>
        </pc:spChg>
      </pc:sldChg>
      <pc:sldChg chg="add ord modTransition">
        <pc:chgData name="Thomas Stensitzki" userId="75cafe6b-2f2a-469b-85c4-eec3b9c972ba" providerId="ADAL" clId="{9C6FE5FE-931F-4020-9063-3CD210EE2AD2}" dt="2022-09-09T18:02:52.448" v="960"/>
        <pc:sldMkLst>
          <pc:docMk/>
          <pc:sldMk cId="3270110546" sldId="745"/>
        </pc:sldMkLst>
      </pc:sldChg>
      <pc:sldChg chg="modSp add mod ord modTransition">
        <pc:chgData name="Thomas Stensitzki" userId="75cafe6b-2f2a-469b-85c4-eec3b9c972ba" providerId="ADAL" clId="{9C6FE5FE-931F-4020-9063-3CD210EE2AD2}" dt="2022-09-10T16:31:11.948" v="2941" actId="20577"/>
        <pc:sldMkLst>
          <pc:docMk/>
          <pc:sldMk cId="1302983176" sldId="746"/>
        </pc:sldMkLst>
        <pc:spChg chg="mod">
          <ac:chgData name="Thomas Stensitzki" userId="75cafe6b-2f2a-469b-85c4-eec3b9c972ba" providerId="ADAL" clId="{9C6FE5FE-931F-4020-9063-3CD210EE2AD2}" dt="2022-09-02T10:11:10.759" v="735"/>
          <ac:spMkLst>
            <pc:docMk/>
            <pc:sldMk cId="1302983176" sldId="746"/>
            <ac:spMk id="2" creationId="{7262A795-AAF1-319D-DC9F-6228E231F250}"/>
          </ac:spMkLst>
        </pc:spChg>
        <pc:spChg chg="mod">
          <ac:chgData name="Thomas Stensitzki" userId="75cafe6b-2f2a-469b-85c4-eec3b9c972ba" providerId="ADAL" clId="{9C6FE5FE-931F-4020-9063-3CD210EE2AD2}" dt="2022-09-10T16:31:11.948" v="2941" actId="20577"/>
          <ac:spMkLst>
            <pc:docMk/>
            <pc:sldMk cId="1302983176" sldId="746"/>
            <ac:spMk id="3" creationId="{E787C40D-FB3A-794D-722F-A25C53C119FE}"/>
          </ac:spMkLst>
        </pc:spChg>
      </pc:sldChg>
      <pc:sldChg chg="addSp delSp modSp new mod modTransition modClrScheme modAnim chgLayout">
        <pc:chgData name="Thomas Stensitzki" userId="75cafe6b-2f2a-469b-85c4-eec3b9c972ba" providerId="ADAL" clId="{9C6FE5FE-931F-4020-9063-3CD210EE2AD2}" dt="2022-09-10T16:32:02.405" v="2964" actId="20577"/>
        <pc:sldMkLst>
          <pc:docMk/>
          <pc:sldMk cId="1655918761" sldId="747"/>
        </pc:sldMkLst>
        <pc:spChg chg="del mod ord">
          <ac:chgData name="Thomas Stensitzki" userId="75cafe6b-2f2a-469b-85c4-eec3b9c972ba" providerId="ADAL" clId="{9C6FE5FE-931F-4020-9063-3CD210EE2AD2}" dt="2022-09-02T10:11:27.935" v="737" actId="700"/>
          <ac:spMkLst>
            <pc:docMk/>
            <pc:sldMk cId="1655918761" sldId="747"/>
            <ac:spMk id="2" creationId="{D5791B08-8F43-27F4-92C5-86744BF7CB88}"/>
          </ac:spMkLst>
        </pc:spChg>
        <pc:spChg chg="del mod ord">
          <ac:chgData name="Thomas Stensitzki" userId="75cafe6b-2f2a-469b-85c4-eec3b9c972ba" providerId="ADAL" clId="{9C6FE5FE-931F-4020-9063-3CD210EE2AD2}" dt="2022-09-02T10:11:27.935" v="737" actId="700"/>
          <ac:spMkLst>
            <pc:docMk/>
            <pc:sldMk cId="1655918761" sldId="747"/>
            <ac:spMk id="3" creationId="{F084ECFB-BDEC-3C2D-7494-ECF35CC14738}"/>
          </ac:spMkLst>
        </pc:spChg>
        <pc:spChg chg="add mod ord">
          <ac:chgData name="Thomas Stensitzki" userId="75cafe6b-2f2a-469b-85c4-eec3b9c972ba" providerId="ADAL" clId="{9C6FE5FE-931F-4020-9063-3CD210EE2AD2}" dt="2022-09-02T10:11:35.003" v="738"/>
          <ac:spMkLst>
            <pc:docMk/>
            <pc:sldMk cId="1655918761" sldId="747"/>
            <ac:spMk id="4" creationId="{BFC56389-E39D-C12F-3E85-2D7871C5A60D}"/>
          </ac:spMkLst>
        </pc:spChg>
        <pc:spChg chg="add mod ord">
          <ac:chgData name="Thomas Stensitzki" userId="75cafe6b-2f2a-469b-85c4-eec3b9c972ba" providerId="ADAL" clId="{9C6FE5FE-931F-4020-9063-3CD210EE2AD2}" dt="2022-09-10T16:32:02.405" v="2964" actId="20577"/>
          <ac:spMkLst>
            <pc:docMk/>
            <pc:sldMk cId="1655918761" sldId="747"/>
            <ac:spMk id="5" creationId="{5DA666FB-D8B2-F0B3-BE41-0132EF55457D}"/>
          </ac:spMkLst>
        </pc:spChg>
      </pc:sldChg>
      <pc:sldChg chg="modSp add mod modTransition modAnim modNotesTx">
        <pc:chgData name="Thomas Stensitzki" userId="75cafe6b-2f2a-469b-85c4-eec3b9c972ba" providerId="ADAL" clId="{9C6FE5FE-931F-4020-9063-3CD210EE2AD2}" dt="2022-09-10T16:33:40.978" v="3019" actId="20577"/>
        <pc:sldMkLst>
          <pc:docMk/>
          <pc:sldMk cId="1017597183" sldId="748"/>
        </pc:sldMkLst>
        <pc:spChg chg="mod">
          <ac:chgData name="Thomas Stensitzki" userId="75cafe6b-2f2a-469b-85c4-eec3b9c972ba" providerId="ADAL" clId="{9C6FE5FE-931F-4020-9063-3CD210EE2AD2}" dt="2022-09-10T16:33:40.978" v="3019" actId="20577"/>
          <ac:spMkLst>
            <pc:docMk/>
            <pc:sldMk cId="1017597183" sldId="748"/>
            <ac:spMk id="5" creationId="{5DA666FB-D8B2-F0B3-BE41-0132EF55457D}"/>
          </ac:spMkLst>
        </pc:spChg>
      </pc:sldChg>
      <pc:sldChg chg="addSp delSp modSp new mod modTransition modClrScheme modAnim chgLayout">
        <pc:chgData name="Thomas Stensitzki" userId="75cafe6b-2f2a-469b-85c4-eec3b9c972ba" providerId="ADAL" clId="{9C6FE5FE-931F-4020-9063-3CD210EE2AD2}" dt="2022-09-09T18:30:59.803" v="1080"/>
        <pc:sldMkLst>
          <pc:docMk/>
          <pc:sldMk cId="3568303252" sldId="749"/>
        </pc:sldMkLst>
        <pc:spChg chg="del mod ord">
          <ac:chgData name="Thomas Stensitzki" userId="75cafe6b-2f2a-469b-85c4-eec3b9c972ba" providerId="ADAL" clId="{9C6FE5FE-931F-4020-9063-3CD210EE2AD2}" dt="2022-09-02T10:41:46.319" v="746" actId="700"/>
          <ac:spMkLst>
            <pc:docMk/>
            <pc:sldMk cId="3568303252" sldId="749"/>
            <ac:spMk id="2" creationId="{CE4D1D72-47F4-0A8E-1C0A-13908A16A9B1}"/>
          </ac:spMkLst>
        </pc:spChg>
        <pc:spChg chg="del mod ord">
          <ac:chgData name="Thomas Stensitzki" userId="75cafe6b-2f2a-469b-85c4-eec3b9c972ba" providerId="ADAL" clId="{9C6FE5FE-931F-4020-9063-3CD210EE2AD2}" dt="2022-09-02T10:41:46.319" v="746" actId="700"/>
          <ac:spMkLst>
            <pc:docMk/>
            <pc:sldMk cId="3568303252" sldId="749"/>
            <ac:spMk id="3" creationId="{8B5F4E1A-F089-02C9-FA88-2945DA3B587A}"/>
          </ac:spMkLst>
        </pc:spChg>
        <pc:spChg chg="add mod ord">
          <ac:chgData name="Thomas Stensitzki" userId="75cafe6b-2f2a-469b-85c4-eec3b9c972ba" providerId="ADAL" clId="{9C6FE5FE-931F-4020-9063-3CD210EE2AD2}" dt="2022-09-02T10:44:06.193" v="747"/>
          <ac:spMkLst>
            <pc:docMk/>
            <pc:sldMk cId="3568303252" sldId="749"/>
            <ac:spMk id="4" creationId="{3BF93A19-9C7B-511F-4F72-F0609D9D6B9C}"/>
          </ac:spMkLst>
        </pc:spChg>
        <pc:spChg chg="add mod ord">
          <ac:chgData name="Thomas Stensitzki" userId="75cafe6b-2f2a-469b-85c4-eec3b9c972ba" providerId="ADAL" clId="{9C6FE5FE-931F-4020-9063-3CD210EE2AD2}" dt="2022-09-02T10:49:10.974" v="778" actId="404"/>
          <ac:spMkLst>
            <pc:docMk/>
            <pc:sldMk cId="3568303252" sldId="749"/>
            <ac:spMk id="5" creationId="{D1F049FB-C697-6A55-9DEE-1AD5ABA66EE3}"/>
          </ac:spMkLst>
        </pc:spChg>
        <pc:spChg chg="add del mod ord">
          <ac:chgData name="Thomas Stensitzki" userId="75cafe6b-2f2a-469b-85c4-eec3b9c972ba" providerId="ADAL" clId="{9C6FE5FE-931F-4020-9063-3CD210EE2AD2}" dt="2022-09-02T10:44:47.017" v="755" actId="478"/>
          <ac:spMkLst>
            <pc:docMk/>
            <pc:sldMk cId="3568303252" sldId="749"/>
            <ac:spMk id="6" creationId="{E078F3A9-DB5C-9CF8-CCC7-A458FCEDFC45}"/>
          </ac:spMkLst>
        </pc:spChg>
        <pc:spChg chg="add mod">
          <ac:chgData name="Thomas Stensitzki" userId="75cafe6b-2f2a-469b-85c4-eec3b9c972ba" providerId="ADAL" clId="{9C6FE5FE-931F-4020-9063-3CD210EE2AD2}" dt="2022-09-02T10:45:17.427" v="757" actId="1076"/>
          <ac:spMkLst>
            <pc:docMk/>
            <pc:sldMk cId="3568303252" sldId="749"/>
            <ac:spMk id="8" creationId="{1E4950E7-1183-0AE3-F754-F03C2C2E5FF1}"/>
          </ac:spMkLst>
        </pc:spChg>
        <pc:picChg chg="add mod">
          <ac:chgData name="Thomas Stensitzki" userId="75cafe6b-2f2a-469b-85c4-eec3b9c972ba" providerId="ADAL" clId="{9C6FE5FE-931F-4020-9063-3CD210EE2AD2}" dt="2022-09-02T10:45:17.427" v="757" actId="1076"/>
          <ac:picMkLst>
            <pc:docMk/>
            <pc:sldMk cId="3568303252" sldId="749"/>
            <ac:picMk id="7" creationId="{B23A75CF-D00C-043C-05A6-507B9E1A4145}"/>
          </ac:picMkLst>
        </pc:picChg>
      </pc:sldChg>
      <pc:sldChg chg="addSp delSp modSp add mod modTransition delAnim modAnim">
        <pc:chgData name="Thomas Stensitzki" userId="75cafe6b-2f2a-469b-85c4-eec3b9c972ba" providerId="ADAL" clId="{9C6FE5FE-931F-4020-9063-3CD210EE2AD2}" dt="2022-09-09T18:30:50.149" v="1079"/>
        <pc:sldMkLst>
          <pc:docMk/>
          <pc:sldMk cId="1070444998" sldId="750"/>
        </pc:sldMkLst>
        <pc:spChg chg="mod">
          <ac:chgData name="Thomas Stensitzki" userId="75cafe6b-2f2a-469b-85c4-eec3b9c972ba" providerId="ADAL" clId="{9C6FE5FE-931F-4020-9063-3CD210EE2AD2}" dt="2022-09-02T10:49:04.476" v="777" actId="404"/>
          <ac:spMkLst>
            <pc:docMk/>
            <pc:sldMk cId="1070444998" sldId="750"/>
            <ac:spMk id="5" creationId="{D1F049FB-C697-6A55-9DEE-1AD5ABA66EE3}"/>
          </ac:spMkLst>
        </pc:spChg>
        <pc:spChg chg="del">
          <ac:chgData name="Thomas Stensitzki" userId="75cafe6b-2f2a-469b-85c4-eec3b9c972ba" providerId="ADAL" clId="{9C6FE5FE-931F-4020-9063-3CD210EE2AD2}" dt="2022-09-02T10:46:01.907" v="762" actId="478"/>
          <ac:spMkLst>
            <pc:docMk/>
            <pc:sldMk cId="1070444998" sldId="750"/>
            <ac:spMk id="8" creationId="{1E4950E7-1183-0AE3-F754-F03C2C2E5FF1}"/>
          </ac:spMkLst>
        </pc:spChg>
        <pc:spChg chg="add mod">
          <ac:chgData name="Thomas Stensitzki" userId="75cafe6b-2f2a-469b-85c4-eec3b9c972ba" providerId="ADAL" clId="{9C6FE5FE-931F-4020-9063-3CD210EE2AD2}" dt="2022-09-02T10:46:16.488" v="765" actId="1076"/>
          <ac:spMkLst>
            <pc:docMk/>
            <pc:sldMk cId="1070444998" sldId="750"/>
            <ac:spMk id="9" creationId="{26D582C8-3B52-4913-9558-6ED4C4949A59}"/>
          </ac:spMkLst>
        </pc:spChg>
        <pc:picChg chg="add mod">
          <ac:chgData name="Thomas Stensitzki" userId="75cafe6b-2f2a-469b-85c4-eec3b9c972ba" providerId="ADAL" clId="{9C6FE5FE-931F-4020-9063-3CD210EE2AD2}" dt="2022-09-02T10:46:16.488" v="765" actId="1076"/>
          <ac:picMkLst>
            <pc:docMk/>
            <pc:sldMk cId="1070444998" sldId="750"/>
            <ac:picMk id="6" creationId="{28F35B8C-FA97-B9E5-6671-E3F6931ABB83}"/>
          </ac:picMkLst>
        </pc:picChg>
        <pc:picChg chg="del">
          <ac:chgData name="Thomas Stensitzki" userId="75cafe6b-2f2a-469b-85c4-eec3b9c972ba" providerId="ADAL" clId="{9C6FE5FE-931F-4020-9063-3CD210EE2AD2}" dt="2022-09-02T10:46:00.383" v="761" actId="478"/>
          <ac:picMkLst>
            <pc:docMk/>
            <pc:sldMk cId="1070444998" sldId="750"/>
            <ac:picMk id="7" creationId="{B23A75CF-D00C-043C-05A6-507B9E1A4145}"/>
          </ac:picMkLst>
        </pc:picChg>
      </pc:sldChg>
      <pc:sldChg chg="add del">
        <pc:chgData name="Thomas Stensitzki" userId="75cafe6b-2f2a-469b-85c4-eec3b9c972ba" providerId="ADAL" clId="{9C6FE5FE-931F-4020-9063-3CD210EE2AD2}" dt="2022-09-02T10:46:28.244" v="767" actId="47"/>
        <pc:sldMkLst>
          <pc:docMk/>
          <pc:sldMk cId="1367429306" sldId="751"/>
        </pc:sldMkLst>
      </pc:sldChg>
      <pc:sldChg chg="addSp delSp modSp add mod ord modTransition delAnim modAnim">
        <pc:chgData name="Thomas Stensitzki" userId="75cafe6b-2f2a-469b-85c4-eec3b9c972ba" providerId="ADAL" clId="{9C6FE5FE-931F-4020-9063-3CD210EE2AD2}" dt="2022-09-09T18:31:57.503" v="1089"/>
        <pc:sldMkLst>
          <pc:docMk/>
          <pc:sldMk cId="1796926046" sldId="751"/>
        </pc:sldMkLst>
        <pc:spChg chg="mod">
          <ac:chgData name="Thomas Stensitzki" userId="75cafe6b-2f2a-469b-85c4-eec3b9c972ba" providerId="ADAL" clId="{9C6FE5FE-931F-4020-9063-3CD210EE2AD2}" dt="2022-09-09T18:31:28.984" v="1085" actId="255"/>
          <ac:spMkLst>
            <pc:docMk/>
            <pc:sldMk cId="1796926046" sldId="751"/>
            <ac:spMk id="5" creationId="{D1F049FB-C697-6A55-9DEE-1AD5ABA66EE3}"/>
          </ac:spMkLst>
        </pc:spChg>
        <pc:spChg chg="add mod">
          <ac:chgData name="Thomas Stensitzki" userId="75cafe6b-2f2a-469b-85c4-eec3b9c972ba" providerId="ADAL" clId="{9C6FE5FE-931F-4020-9063-3CD210EE2AD2}" dt="2022-09-02T10:54:56.919" v="825" actId="1076"/>
          <ac:spMkLst>
            <pc:docMk/>
            <pc:sldMk cId="1796926046" sldId="751"/>
            <ac:spMk id="8" creationId="{9EAE9B5A-7E39-25B7-7B7A-6E28B9A424F0}"/>
          </ac:spMkLst>
        </pc:spChg>
        <pc:spChg chg="del">
          <ac:chgData name="Thomas Stensitzki" userId="75cafe6b-2f2a-469b-85c4-eec3b9c972ba" providerId="ADAL" clId="{9C6FE5FE-931F-4020-9063-3CD210EE2AD2}" dt="2022-09-02T10:46:37.807" v="769" actId="478"/>
          <ac:spMkLst>
            <pc:docMk/>
            <pc:sldMk cId="1796926046" sldId="751"/>
            <ac:spMk id="9" creationId="{26D582C8-3B52-4913-9558-6ED4C4949A59}"/>
          </ac:spMkLst>
        </pc:spChg>
        <pc:picChg chg="del">
          <ac:chgData name="Thomas Stensitzki" userId="75cafe6b-2f2a-469b-85c4-eec3b9c972ba" providerId="ADAL" clId="{9C6FE5FE-931F-4020-9063-3CD210EE2AD2}" dt="2022-09-02T10:46:37.807" v="769" actId="478"/>
          <ac:picMkLst>
            <pc:docMk/>
            <pc:sldMk cId="1796926046" sldId="751"/>
            <ac:picMk id="6" creationId="{28F35B8C-FA97-B9E5-6671-E3F6931ABB83}"/>
          </ac:picMkLst>
        </pc:picChg>
        <pc:picChg chg="add mod">
          <ac:chgData name="Thomas Stensitzki" userId="75cafe6b-2f2a-469b-85c4-eec3b9c972ba" providerId="ADAL" clId="{9C6FE5FE-931F-4020-9063-3CD210EE2AD2}" dt="2022-09-02T10:54:56.919" v="825" actId="1076"/>
          <ac:picMkLst>
            <pc:docMk/>
            <pc:sldMk cId="1796926046" sldId="751"/>
            <ac:picMk id="7" creationId="{172B1B00-A068-194F-3CF4-EAF5DA0AB1B2}"/>
          </ac:picMkLst>
        </pc:picChg>
      </pc:sldChg>
      <pc:sldChg chg="addSp delSp modSp add mod modTransition delAnim modAnim">
        <pc:chgData name="Thomas Stensitzki" userId="75cafe6b-2f2a-469b-85c4-eec3b9c972ba" providerId="ADAL" clId="{9C6FE5FE-931F-4020-9063-3CD210EE2AD2}" dt="2022-09-09T18:30:36.635" v="1078"/>
        <pc:sldMkLst>
          <pc:docMk/>
          <pc:sldMk cId="2250547151" sldId="752"/>
        </pc:sldMkLst>
        <pc:spChg chg="mod">
          <ac:chgData name="Thomas Stensitzki" userId="75cafe6b-2f2a-469b-85c4-eec3b9c972ba" providerId="ADAL" clId="{9C6FE5FE-931F-4020-9063-3CD210EE2AD2}" dt="2022-09-02T10:49:20.308" v="779" actId="404"/>
          <ac:spMkLst>
            <pc:docMk/>
            <pc:sldMk cId="2250547151" sldId="752"/>
            <ac:spMk id="5" creationId="{D1F049FB-C697-6A55-9DEE-1AD5ABA66EE3}"/>
          </ac:spMkLst>
        </pc:spChg>
        <pc:spChg chg="add mod">
          <ac:chgData name="Thomas Stensitzki" userId="75cafe6b-2f2a-469b-85c4-eec3b9c972ba" providerId="ADAL" clId="{9C6FE5FE-931F-4020-9063-3CD210EE2AD2}" dt="2022-09-02T10:50:04.828" v="781" actId="1076"/>
          <ac:spMkLst>
            <pc:docMk/>
            <pc:sldMk cId="2250547151" sldId="752"/>
            <ac:spMk id="7" creationId="{BC90C350-E198-209E-AC27-9EDC2ED4C87F}"/>
          </ac:spMkLst>
        </pc:spChg>
        <pc:picChg chg="add mod">
          <ac:chgData name="Thomas Stensitzki" userId="75cafe6b-2f2a-469b-85c4-eec3b9c972ba" providerId="ADAL" clId="{9C6FE5FE-931F-4020-9063-3CD210EE2AD2}" dt="2022-09-02T10:50:04.828" v="781" actId="1076"/>
          <ac:picMkLst>
            <pc:docMk/>
            <pc:sldMk cId="2250547151" sldId="752"/>
            <ac:picMk id="6" creationId="{DD488464-1B15-C27C-62A1-5D07824BFC73}"/>
          </ac:picMkLst>
        </pc:picChg>
        <pc:picChg chg="add del mod">
          <ac:chgData name="Thomas Stensitzki" userId="75cafe6b-2f2a-469b-85c4-eec3b9c972ba" providerId="ADAL" clId="{9C6FE5FE-931F-4020-9063-3CD210EE2AD2}" dt="2022-09-02T10:50:49.336" v="788" actId="478"/>
          <ac:picMkLst>
            <pc:docMk/>
            <pc:sldMk cId="2250547151" sldId="752"/>
            <ac:picMk id="8" creationId="{420BFBB7-4B09-AD18-22DC-F9E9D59DA61E}"/>
          </ac:picMkLst>
        </pc:picChg>
      </pc:sldChg>
      <pc:sldChg chg="modSp add mod modTransition modAnim">
        <pc:chgData name="Thomas Stensitzki" userId="75cafe6b-2f2a-469b-85c4-eec3b9c972ba" providerId="ADAL" clId="{9C6FE5FE-931F-4020-9063-3CD210EE2AD2}" dt="2022-09-09T18:30:21.252" v="1076"/>
        <pc:sldMkLst>
          <pc:docMk/>
          <pc:sldMk cId="291150760" sldId="753"/>
        </pc:sldMkLst>
        <pc:spChg chg="mod">
          <ac:chgData name="Thomas Stensitzki" userId="75cafe6b-2f2a-469b-85c4-eec3b9c972ba" providerId="ADAL" clId="{9C6FE5FE-931F-4020-9063-3CD210EE2AD2}" dt="2022-09-02T10:51:58.591" v="797" actId="5793"/>
          <ac:spMkLst>
            <pc:docMk/>
            <pc:sldMk cId="291150760" sldId="753"/>
            <ac:spMk id="5" creationId="{D1F049FB-C697-6A55-9DEE-1AD5ABA66EE3}"/>
          </ac:spMkLst>
        </pc:spChg>
        <pc:picChg chg="mod">
          <ac:chgData name="Thomas Stensitzki" userId="75cafe6b-2f2a-469b-85c4-eec3b9c972ba" providerId="ADAL" clId="{9C6FE5FE-931F-4020-9063-3CD210EE2AD2}" dt="2022-09-02T10:50:45.159" v="787" actId="1076"/>
          <ac:picMkLst>
            <pc:docMk/>
            <pc:sldMk cId="291150760" sldId="753"/>
            <ac:picMk id="8" creationId="{420BFBB7-4B09-AD18-22DC-F9E9D59DA61E}"/>
          </ac:picMkLst>
        </pc:picChg>
      </pc:sldChg>
      <pc:sldChg chg="addSp delSp modSp add mod modTransition modAnim">
        <pc:chgData name="Thomas Stensitzki" userId="75cafe6b-2f2a-469b-85c4-eec3b9c972ba" providerId="ADAL" clId="{9C6FE5FE-931F-4020-9063-3CD210EE2AD2}" dt="2022-09-09T18:29:49.983" v="1072"/>
        <pc:sldMkLst>
          <pc:docMk/>
          <pc:sldMk cId="1018184029" sldId="754"/>
        </pc:sldMkLst>
        <pc:spChg chg="mod">
          <ac:chgData name="Thomas Stensitzki" userId="75cafe6b-2f2a-469b-85c4-eec3b9c972ba" providerId="ADAL" clId="{9C6FE5FE-931F-4020-9063-3CD210EE2AD2}" dt="2022-09-02T10:52:24.137" v="805" actId="15"/>
          <ac:spMkLst>
            <pc:docMk/>
            <pc:sldMk cId="1018184029" sldId="754"/>
            <ac:spMk id="5" creationId="{D1F049FB-C697-6A55-9DEE-1AD5ABA66EE3}"/>
          </ac:spMkLst>
        </pc:spChg>
        <pc:spChg chg="add mod">
          <ac:chgData name="Thomas Stensitzki" userId="75cafe6b-2f2a-469b-85c4-eec3b9c972ba" providerId="ADAL" clId="{9C6FE5FE-931F-4020-9063-3CD210EE2AD2}" dt="2022-09-02T10:52:44.099" v="807" actId="1076"/>
          <ac:spMkLst>
            <pc:docMk/>
            <pc:sldMk cId="1018184029" sldId="754"/>
            <ac:spMk id="7" creationId="{D906927D-DFBB-59C6-ECD8-680F00C4426D}"/>
          </ac:spMkLst>
        </pc:spChg>
        <pc:spChg chg="add mod">
          <ac:chgData name="Thomas Stensitzki" userId="75cafe6b-2f2a-469b-85c4-eec3b9c972ba" providerId="ADAL" clId="{9C6FE5FE-931F-4020-9063-3CD210EE2AD2}" dt="2022-09-02T10:52:44.099" v="807" actId="1076"/>
          <ac:spMkLst>
            <pc:docMk/>
            <pc:sldMk cId="1018184029" sldId="754"/>
            <ac:spMk id="8" creationId="{0D918BC1-BBDB-FECD-D21B-E881C10D47A7}"/>
          </ac:spMkLst>
        </pc:spChg>
        <pc:spChg chg="add del mod">
          <ac:chgData name="Thomas Stensitzki" userId="75cafe6b-2f2a-469b-85c4-eec3b9c972ba" providerId="ADAL" clId="{9C6FE5FE-931F-4020-9063-3CD210EE2AD2}" dt="2022-09-02T10:53:02.722" v="809"/>
          <ac:spMkLst>
            <pc:docMk/>
            <pc:sldMk cId="1018184029" sldId="754"/>
            <ac:spMk id="9" creationId="{1D74C857-A816-D7A7-A90F-76E40DCB849F}"/>
          </ac:spMkLst>
        </pc:spChg>
        <pc:spChg chg="add del mod">
          <ac:chgData name="Thomas Stensitzki" userId="75cafe6b-2f2a-469b-85c4-eec3b9c972ba" providerId="ADAL" clId="{9C6FE5FE-931F-4020-9063-3CD210EE2AD2}" dt="2022-09-02T10:53:07.322" v="811"/>
          <ac:spMkLst>
            <pc:docMk/>
            <pc:sldMk cId="1018184029" sldId="754"/>
            <ac:spMk id="10" creationId="{E8CE3C09-30F9-AD21-3C8C-B66DF510162C}"/>
          </ac:spMkLst>
        </pc:spChg>
        <pc:spChg chg="add mod">
          <ac:chgData name="Thomas Stensitzki" userId="75cafe6b-2f2a-469b-85c4-eec3b9c972ba" providerId="ADAL" clId="{9C6FE5FE-931F-4020-9063-3CD210EE2AD2}" dt="2022-09-02T10:53:29.787" v="813" actId="1076"/>
          <ac:spMkLst>
            <pc:docMk/>
            <pc:sldMk cId="1018184029" sldId="754"/>
            <ac:spMk id="11" creationId="{2E3DC29C-3F99-C73D-51FD-000F8A94C6D9}"/>
          </ac:spMkLst>
        </pc:spChg>
        <pc:picChg chg="add mod">
          <ac:chgData name="Thomas Stensitzki" userId="75cafe6b-2f2a-469b-85c4-eec3b9c972ba" providerId="ADAL" clId="{9C6FE5FE-931F-4020-9063-3CD210EE2AD2}" dt="2022-09-02T10:52:44.099" v="807" actId="1076"/>
          <ac:picMkLst>
            <pc:docMk/>
            <pc:sldMk cId="1018184029" sldId="754"/>
            <ac:picMk id="6" creationId="{2338BC76-A686-3D76-68C1-9283F8E0CD84}"/>
          </ac:picMkLst>
        </pc:picChg>
      </pc:sldChg>
      <pc:sldChg chg="addSp modSp add mod modTransition modAnim">
        <pc:chgData name="Thomas Stensitzki" userId="75cafe6b-2f2a-469b-85c4-eec3b9c972ba" providerId="ADAL" clId="{9C6FE5FE-931F-4020-9063-3CD210EE2AD2}" dt="2022-11-02T13:30:13.072" v="3915" actId="1076"/>
        <pc:sldMkLst>
          <pc:docMk/>
          <pc:sldMk cId="2066572667" sldId="755"/>
        </pc:sldMkLst>
        <pc:spChg chg="mod">
          <ac:chgData name="Thomas Stensitzki" userId="75cafe6b-2f2a-469b-85c4-eec3b9c972ba" providerId="ADAL" clId="{9C6FE5FE-931F-4020-9063-3CD210EE2AD2}" dt="2022-09-02T10:56:43.990" v="830" actId="15"/>
          <ac:spMkLst>
            <pc:docMk/>
            <pc:sldMk cId="2066572667" sldId="755"/>
            <ac:spMk id="5" creationId="{D1F049FB-C697-6A55-9DEE-1AD5ABA66EE3}"/>
          </ac:spMkLst>
        </pc:spChg>
        <pc:spChg chg="add mod">
          <ac:chgData name="Thomas Stensitzki" userId="75cafe6b-2f2a-469b-85c4-eec3b9c972ba" providerId="ADAL" clId="{9C6FE5FE-931F-4020-9063-3CD210EE2AD2}" dt="2022-09-02T10:57:05.756" v="832" actId="1076"/>
          <ac:spMkLst>
            <pc:docMk/>
            <pc:sldMk cId="2066572667" sldId="755"/>
            <ac:spMk id="7" creationId="{83B22DFE-E7E9-93EA-1AAF-84AF79B8CEA6}"/>
          </ac:spMkLst>
        </pc:spChg>
        <pc:spChg chg="add mod">
          <ac:chgData name="Thomas Stensitzki" userId="75cafe6b-2f2a-469b-85c4-eec3b9c972ba" providerId="ADAL" clId="{9C6FE5FE-931F-4020-9063-3CD210EE2AD2}" dt="2022-09-02T10:57:05.756" v="832" actId="1076"/>
          <ac:spMkLst>
            <pc:docMk/>
            <pc:sldMk cId="2066572667" sldId="755"/>
            <ac:spMk id="9" creationId="{5EC33310-F156-B57A-C2DD-1BBB59AFE3BA}"/>
          </ac:spMkLst>
        </pc:spChg>
        <pc:picChg chg="add mod">
          <ac:chgData name="Thomas Stensitzki" userId="75cafe6b-2f2a-469b-85c4-eec3b9c972ba" providerId="ADAL" clId="{9C6FE5FE-931F-4020-9063-3CD210EE2AD2}" dt="2022-09-02T10:57:05.756" v="832" actId="1076"/>
          <ac:picMkLst>
            <pc:docMk/>
            <pc:sldMk cId="2066572667" sldId="755"/>
            <ac:picMk id="6" creationId="{ED018FEC-2CF3-6DC4-EF4B-830BDE63B1C8}"/>
          </ac:picMkLst>
        </pc:picChg>
        <pc:picChg chg="add mod">
          <ac:chgData name="Thomas Stensitzki" userId="75cafe6b-2f2a-469b-85c4-eec3b9c972ba" providerId="ADAL" clId="{9C6FE5FE-931F-4020-9063-3CD210EE2AD2}" dt="2022-11-02T13:30:13.072" v="3915" actId="1076"/>
          <ac:picMkLst>
            <pc:docMk/>
            <pc:sldMk cId="2066572667" sldId="755"/>
            <ac:picMk id="8" creationId="{E8EC2222-C4E1-2CCB-6E33-12DF43168C74}"/>
          </ac:picMkLst>
        </pc:picChg>
      </pc:sldChg>
      <pc:sldChg chg="addSp modSp add mod modTransition modAnim">
        <pc:chgData name="Thomas Stensitzki" userId="75cafe6b-2f2a-469b-85c4-eec3b9c972ba" providerId="ADAL" clId="{9C6FE5FE-931F-4020-9063-3CD210EE2AD2}" dt="2022-09-09T18:02:52.448" v="960"/>
        <pc:sldMkLst>
          <pc:docMk/>
          <pc:sldMk cId="2914386796" sldId="756"/>
        </pc:sldMkLst>
        <pc:spChg chg="mod">
          <ac:chgData name="Thomas Stensitzki" userId="75cafe6b-2f2a-469b-85c4-eec3b9c972ba" providerId="ADAL" clId="{9C6FE5FE-931F-4020-9063-3CD210EE2AD2}" dt="2022-09-02T10:59:14.111" v="843" actId="6549"/>
          <ac:spMkLst>
            <pc:docMk/>
            <pc:sldMk cId="2914386796" sldId="756"/>
            <ac:spMk id="5" creationId="{D1F049FB-C697-6A55-9DEE-1AD5ABA66EE3}"/>
          </ac:spMkLst>
        </pc:spChg>
        <pc:spChg chg="add mod">
          <ac:chgData name="Thomas Stensitzki" userId="75cafe6b-2f2a-469b-85c4-eec3b9c972ba" providerId="ADAL" clId="{9C6FE5FE-931F-4020-9063-3CD210EE2AD2}" dt="2022-09-02T10:58:21.148" v="841" actId="1076"/>
          <ac:spMkLst>
            <pc:docMk/>
            <pc:sldMk cId="2914386796" sldId="756"/>
            <ac:spMk id="7" creationId="{88957CA5-E2A5-7A04-5927-BE5A682AB292}"/>
          </ac:spMkLst>
        </pc:spChg>
        <pc:picChg chg="add mod">
          <ac:chgData name="Thomas Stensitzki" userId="75cafe6b-2f2a-469b-85c4-eec3b9c972ba" providerId="ADAL" clId="{9C6FE5FE-931F-4020-9063-3CD210EE2AD2}" dt="2022-09-02T10:58:21.148" v="841" actId="1076"/>
          <ac:picMkLst>
            <pc:docMk/>
            <pc:sldMk cId="2914386796" sldId="756"/>
            <ac:picMk id="6" creationId="{56A16326-149B-2493-0F63-DE1F27608B64}"/>
          </ac:picMkLst>
        </pc:picChg>
      </pc:sldChg>
      <pc:sldChg chg="addSp delSp modSp add mod modTransition modAnim">
        <pc:chgData name="Thomas Stensitzki" userId="75cafe6b-2f2a-469b-85c4-eec3b9c972ba" providerId="ADAL" clId="{9C6FE5FE-931F-4020-9063-3CD210EE2AD2}" dt="2022-09-09T18:02:52.448" v="960"/>
        <pc:sldMkLst>
          <pc:docMk/>
          <pc:sldMk cId="1197313538" sldId="757"/>
        </pc:sldMkLst>
        <pc:spChg chg="mod">
          <ac:chgData name="Thomas Stensitzki" userId="75cafe6b-2f2a-469b-85c4-eec3b9c972ba" providerId="ADAL" clId="{9C6FE5FE-931F-4020-9063-3CD210EE2AD2}" dt="2022-09-02T11:00:20.798" v="848" actId="15"/>
          <ac:spMkLst>
            <pc:docMk/>
            <pc:sldMk cId="1197313538" sldId="757"/>
            <ac:spMk id="5" creationId="{D1F049FB-C697-6A55-9DEE-1AD5ABA66EE3}"/>
          </ac:spMkLst>
        </pc:spChg>
        <pc:spChg chg="add mod">
          <ac:chgData name="Thomas Stensitzki" userId="75cafe6b-2f2a-469b-85c4-eec3b9c972ba" providerId="ADAL" clId="{9C6FE5FE-931F-4020-9063-3CD210EE2AD2}" dt="2022-09-02T11:15:23.762" v="850" actId="1076"/>
          <ac:spMkLst>
            <pc:docMk/>
            <pc:sldMk cId="1197313538" sldId="757"/>
            <ac:spMk id="7" creationId="{1A8B93FB-F90D-4785-4F4F-1632314C27C8}"/>
          </ac:spMkLst>
        </pc:spChg>
        <pc:spChg chg="add del mod">
          <ac:chgData name="Thomas Stensitzki" userId="75cafe6b-2f2a-469b-85c4-eec3b9c972ba" providerId="ADAL" clId="{9C6FE5FE-931F-4020-9063-3CD210EE2AD2}" dt="2022-09-02T11:15:33.628" v="852"/>
          <ac:spMkLst>
            <pc:docMk/>
            <pc:sldMk cId="1197313538" sldId="757"/>
            <ac:spMk id="9" creationId="{21240F0E-DBD9-0F2B-3B46-B9CF12AAF5A3}"/>
          </ac:spMkLst>
        </pc:spChg>
        <pc:picChg chg="add mod">
          <ac:chgData name="Thomas Stensitzki" userId="75cafe6b-2f2a-469b-85c4-eec3b9c972ba" providerId="ADAL" clId="{9C6FE5FE-931F-4020-9063-3CD210EE2AD2}" dt="2022-09-02T11:15:23.762" v="850" actId="1076"/>
          <ac:picMkLst>
            <pc:docMk/>
            <pc:sldMk cId="1197313538" sldId="757"/>
            <ac:picMk id="6" creationId="{D5970E5F-8137-9287-8F6B-728F90EE26CD}"/>
          </ac:picMkLst>
        </pc:picChg>
        <pc:picChg chg="add del mod">
          <ac:chgData name="Thomas Stensitzki" userId="75cafe6b-2f2a-469b-85c4-eec3b9c972ba" providerId="ADAL" clId="{9C6FE5FE-931F-4020-9063-3CD210EE2AD2}" dt="2022-09-02T11:15:33.628" v="852"/>
          <ac:picMkLst>
            <pc:docMk/>
            <pc:sldMk cId="1197313538" sldId="757"/>
            <ac:picMk id="8" creationId="{1F055620-4979-13CC-41B8-3301D709DB18}"/>
          </ac:picMkLst>
        </pc:picChg>
      </pc:sldChg>
      <pc:sldChg chg="modSp add mod modTransition modAnim">
        <pc:chgData name="Thomas Stensitzki" userId="75cafe6b-2f2a-469b-85c4-eec3b9c972ba" providerId="ADAL" clId="{9C6FE5FE-931F-4020-9063-3CD210EE2AD2}" dt="2022-09-09T18:02:52.448" v="960"/>
        <pc:sldMkLst>
          <pc:docMk/>
          <pc:sldMk cId="1199848448" sldId="758"/>
        </pc:sldMkLst>
        <pc:spChg chg="mod">
          <ac:chgData name="Thomas Stensitzki" userId="75cafe6b-2f2a-469b-85c4-eec3b9c972ba" providerId="ADAL" clId="{9C6FE5FE-931F-4020-9063-3CD210EE2AD2}" dt="2022-09-02T10:59:22.306" v="844" actId="6549"/>
          <ac:spMkLst>
            <pc:docMk/>
            <pc:sldMk cId="1199848448" sldId="758"/>
            <ac:spMk id="5" creationId="{D1F049FB-C697-6A55-9DEE-1AD5ABA66EE3}"/>
          </ac:spMkLst>
        </pc:spChg>
      </pc:sldChg>
      <pc:sldChg chg="addSp modSp add mod ord modTransition modAnim">
        <pc:chgData name="Thomas Stensitzki" userId="75cafe6b-2f2a-469b-85c4-eec3b9c972ba" providerId="ADAL" clId="{9C6FE5FE-931F-4020-9063-3CD210EE2AD2}" dt="2022-09-09T18:02:52.448" v="960"/>
        <pc:sldMkLst>
          <pc:docMk/>
          <pc:sldMk cId="3524132414" sldId="759"/>
        </pc:sldMkLst>
        <pc:spChg chg="mod">
          <ac:chgData name="Thomas Stensitzki" userId="75cafe6b-2f2a-469b-85c4-eec3b9c972ba" providerId="ADAL" clId="{9C6FE5FE-931F-4020-9063-3CD210EE2AD2}" dt="2022-09-02T11:23:11.149" v="864" actId="15"/>
          <ac:spMkLst>
            <pc:docMk/>
            <pc:sldMk cId="3524132414" sldId="759"/>
            <ac:spMk id="5" creationId="{D1F049FB-C697-6A55-9DEE-1AD5ABA66EE3}"/>
          </ac:spMkLst>
        </pc:spChg>
        <pc:spChg chg="add mod">
          <ac:chgData name="Thomas Stensitzki" userId="75cafe6b-2f2a-469b-85c4-eec3b9c972ba" providerId="ADAL" clId="{9C6FE5FE-931F-4020-9063-3CD210EE2AD2}" dt="2022-09-02T11:23:25.994" v="866" actId="1076"/>
          <ac:spMkLst>
            <pc:docMk/>
            <pc:sldMk cId="3524132414" sldId="759"/>
            <ac:spMk id="7" creationId="{4944D63B-0565-7AD0-DA75-0717C53391C5}"/>
          </ac:spMkLst>
        </pc:spChg>
        <pc:picChg chg="add mod">
          <ac:chgData name="Thomas Stensitzki" userId="75cafe6b-2f2a-469b-85c4-eec3b9c972ba" providerId="ADAL" clId="{9C6FE5FE-931F-4020-9063-3CD210EE2AD2}" dt="2022-09-02T11:23:25.994" v="866" actId="1076"/>
          <ac:picMkLst>
            <pc:docMk/>
            <pc:sldMk cId="3524132414" sldId="759"/>
            <ac:picMk id="6" creationId="{7573EAC4-5DF4-8327-3A00-6DBD0839706F}"/>
          </ac:picMkLst>
        </pc:picChg>
      </pc:sldChg>
      <pc:sldChg chg="addSp modSp add mod modTransition modAnim">
        <pc:chgData name="Thomas Stensitzki" userId="75cafe6b-2f2a-469b-85c4-eec3b9c972ba" providerId="ADAL" clId="{9C6FE5FE-931F-4020-9063-3CD210EE2AD2}" dt="2022-09-09T18:02:52.448" v="960"/>
        <pc:sldMkLst>
          <pc:docMk/>
          <pc:sldMk cId="4103160089" sldId="760"/>
        </pc:sldMkLst>
        <pc:spChg chg="mod">
          <ac:chgData name="Thomas Stensitzki" userId="75cafe6b-2f2a-469b-85c4-eec3b9c972ba" providerId="ADAL" clId="{9C6FE5FE-931F-4020-9063-3CD210EE2AD2}" dt="2022-09-02T11:15:56.551" v="855" actId="15"/>
          <ac:spMkLst>
            <pc:docMk/>
            <pc:sldMk cId="4103160089" sldId="760"/>
            <ac:spMk id="5" creationId="{D1F049FB-C697-6A55-9DEE-1AD5ABA66EE3}"/>
          </ac:spMkLst>
        </pc:spChg>
        <pc:spChg chg="add mod">
          <ac:chgData name="Thomas Stensitzki" userId="75cafe6b-2f2a-469b-85c4-eec3b9c972ba" providerId="ADAL" clId="{9C6FE5FE-931F-4020-9063-3CD210EE2AD2}" dt="2022-09-02T11:16:18.863" v="857" actId="1076"/>
          <ac:spMkLst>
            <pc:docMk/>
            <pc:sldMk cId="4103160089" sldId="760"/>
            <ac:spMk id="7" creationId="{846BC6BA-A48D-70A3-21E0-E0B0472944D7}"/>
          </ac:spMkLst>
        </pc:spChg>
        <pc:picChg chg="add mod">
          <ac:chgData name="Thomas Stensitzki" userId="75cafe6b-2f2a-469b-85c4-eec3b9c972ba" providerId="ADAL" clId="{9C6FE5FE-931F-4020-9063-3CD210EE2AD2}" dt="2022-09-02T11:16:18.863" v="857" actId="1076"/>
          <ac:picMkLst>
            <pc:docMk/>
            <pc:sldMk cId="4103160089" sldId="760"/>
            <ac:picMk id="6" creationId="{ED3856D2-8CAB-4660-AE5E-A408DD6E40B1}"/>
          </ac:picMkLst>
        </pc:picChg>
      </pc:sldChg>
      <pc:sldChg chg="addSp modSp add mod modTransition modAnim">
        <pc:chgData name="Thomas Stensitzki" userId="75cafe6b-2f2a-469b-85c4-eec3b9c972ba" providerId="ADAL" clId="{9C6FE5FE-931F-4020-9063-3CD210EE2AD2}" dt="2022-09-09T18:02:52.448" v="960"/>
        <pc:sldMkLst>
          <pc:docMk/>
          <pc:sldMk cId="2799753826" sldId="761"/>
        </pc:sldMkLst>
        <pc:spChg chg="mod">
          <ac:chgData name="Thomas Stensitzki" userId="75cafe6b-2f2a-469b-85c4-eec3b9c972ba" providerId="ADAL" clId="{9C6FE5FE-931F-4020-9063-3CD210EE2AD2}" dt="2022-09-02T11:24:01.744" v="875" actId="15"/>
          <ac:spMkLst>
            <pc:docMk/>
            <pc:sldMk cId="2799753826" sldId="761"/>
            <ac:spMk id="5" creationId="{D1F049FB-C697-6A55-9DEE-1AD5ABA66EE3}"/>
          </ac:spMkLst>
        </pc:spChg>
        <pc:picChg chg="add mod">
          <ac:chgData name="Thomas Stensitzki" userId="75cafe6b-2f2a-469b-85c4-eec3b9c972ba" providerId="ADAL" clId="{9C6FE5FE-931F-4020-9063-3CD210EE2AD2}" dt="2022-09-02T11:24:15.992" v="877" actId="1076"/>
          <ac:picMkLst>
            <pc:docMk/>
            <pc:sldMk cId="2799753826" sldId="761"/>
            <ac:picMk id="6" creationId="{465E75B6-3154-D4C9-954A-4354FACAADF5}"/>
          </ac:picMkLst>
        </pc:picChg>
      </pc:sldChg>
      <pc:sldChg chg="add ord modTransition">
        <pc:chgData name="Thomas Stensitzki" userId="75cafe6b-2f2a-469b-85c4-eec3b9c972ba" providerId="ADAL" clId="{9C6FE5FE-931F-4020-9063-3CD210EE2AD2}" dt="2022-09-09T18:02:52.448" v="960"/>
        <pc:sldMkLst>
          <pc:docMk/>
          <pc:sldMk cId="2157152077" sldId="762"/>
        </pc:sldMkLst>
      </pc:sldChg>
      <pc:sldChg chg="add modTransition">
        <pc:chgData name="Thomas Stensitzki" userId="75cafe6b-2f2a-469b-85c4-eec3b9c972ba" providerId="ADAL" clId="{9C6FE5FE-931F-4020-9063-3CD210EE2AD2}" dt="2022-09-09T18:02:52.448" v="960"/>
        <pc:sldMkLst>
          <pc:docMk/>
          <pc:sldMk cId="3560036689" sldId="763"/>
        </pc:sldMkLst>
      </pc:sldChg>
      <pc:sldChg chg="addSp delSp modSp new mod modTransition modClrScheme chgLayout">
        <pc:chgData name="Thomas Stensitzki" userId="75cafe6b-2f2a-469b-85c4-eec3b9c972ba" providerId="ADAL" clId="{9C6FE5FE-931F-4020-9063-3CD210EE2AD2}" dt="2022-09-09T18:02:52.448" v="960"/>
        <pc:sldMkLst>
          <pc:docMk/>
          <pc:sldMk cId="4003949868" sldId="764"/>
        </pc:sldMkLst>
        <pc:spChg chg="del mod ord">
          <ac:chgData name="Thomas Stensitzki" userId="75cafe6b-2f2a-469b-85c4-eec3b9c972ba" providerId="ADAL" clId="{9C6FE5FE-931F-4020-9063-3CD210EE2AD2}" dt="2022-09-02T11:25:54.021" v="887" actId="700"/>
          <ac:spMkLst>
            <pc:docMk/>
            <pc:sldMk cId="4003949868" sldId="764"/>
            <ac:spMk id="2" creationId="{3237D82B-0AD6-5437-C0D2-0B08BD237A91}"/>
          </ac:spMkLst>
        </pc:spChg>
        <pc:spChg chg="del mod ord">
          <ac:chgData name="Thomas Stensitzki" userId="75cafe6b-2f2a-469b-85c4-eec3b9c972ba" providerId="ADAL" clId="{9C6FE5FE-931F-4020-9063-3CD210EE2AD2}" dt="2022-09-02T11:25:54.021" v="887" actId="700"/>
          <ac:spMkLst>
            <pc:docMk/>
            <pc:sldMk cId="4003949868" sldId="764"/>
            <ac:spMk id="3" creationId="{3ED55281-D52B-03CD-B564-BADCCC01B67C}"/>
          </ac:spMkLst>
        </pc:spChg>
        <pc:spChg chg="del">
          <ac:chgData name="Thomas Stensitzki" userId="75cafe6b-2f2a-469b-85c4-eec3b9c972ba" providerId="ADAL" clId="{9C6FE5FE-931F-4020-9063-3CD210EE2AD2}" dt="2022-09-02T11:25:54.021" v="887" actId="700"/>
          <ac:spMkLst>
            <pc:docMk/>
            <pc:sldMk cId="4003949868" sldId="764"/>
            <ac:spMk id="4" creationId="{13078E86-C4FC-CF63-B376-0E900EFBB382}"/>
          </ac:spMkLst>
        </pc:spChg>
        <pc:spChg chg="add mod ord">
          <ac:chgData name="Thomas Stensitzki" userId="75cafe6b-2f2a-469b-85c4-eec3b9c972ba" providerId="ADAL" clId="{9C6FE5FE-931F-4020-9063-3CD210EE2AD2}" dt="2022-09-02T11:26:05.076" v="889" actId="20577"/>
          <ac:spMkLst>
            <pc:docMk/>
            <pc:sldMk cId="4003949868" sldId="764"/>
            <ac:spMk id="5" creationId="{7324F01C-AB34-B9D8-6774-BA898D229253}"/>
          </ac:spMkLst>
        </pc:spChg>
        <pc:spChg chg="add mod ord">
          <ac:chgData name="Thomas Stensitzki" userId="75cafe6b-2f2a-469b-85c4-eec3b9c972ba" providerId="ADAL" clId="{9C6FE5FE-931F-4020-9063-3CD210EE2AD2}" dt="2022-09-02T11:25:54.021" v="887" actId="700"/>
          <ac:spMkLst>
            <pc:docMk/>
            <pc:sldMk cId="4003949868" sldId="764"/>
            <ac:spMk id="6" creationId="{4D868451-09D5-5D9A-E513-F38C401B9A37}"/>
          </ac:spMkLst>
        </pc:spChg>
      </pc:sldChg>
      <pc:sldChg chg="addSp delSp modSp new mod modTransition modClrScheme chgLayout">
        <pc:chgData name="Thomas Stensitzki" userId="75cafe6b-2f2a-469b-85c4-eec3b9c972ba" providerId="ADAL" clId="{9C6FE5FE-931F-4020-9063-3CD210EE2AD2}" dt="2022-09-10T16:43:16.984" v="3907" actId="113"/>
        <pc:sldMkLst>
          <pc:docMk/>
          <pc:sldMk cId="2250619919" sldId="765"/>
        </pc:sldMkLst>
        <pc:spChg chg="del mod ord">
          <ac:chgData name="Thomas Stensitzki" userId="75cafe6b-2f2a-469b-85c4-eec3b9c972ba" providerId="ADAL" clId="{9C6FE5FE-931F-4020-9063-3CD210EE2AD2}" dt="2022-09-02T11:26:21.448" v="891" actId="700"/>
          <ac:spMkLst>
            <pc:docMk/>
            <pc:sldMk cId="2250619919" sldId="765"/>
            <ac:spMk id="2" creationId="{1D8FC2C4-1C78-5229-BBC4-9F7B381AF01C}"/>
          </ac:spMkLst>
        </pc:spChg>
        <pc:spChg chg="del mod ord">
          <ac:chgData name="Thomas Stensitzki" userId="75cafe6b-2f2a-469b-85c4-eec3b9c972ba" providerId="ADAL" clId="{9C6FE5FE-931F-4020-9063-3CD210EE2AD2}" dt="2022-09-02T11:26:21.448" v="891" actId="700"/>
          <ac:spMkLst>
            <pc:docMk/>
            <pc:sldMk cId="2250619919" sldId="765"/>
            <ac:spMk id="3" creationId="{E1034D20-92BC-504B-BAF7-DE6F130E654B}"/>
          </ac:spMkLst>
        </pc:spChg>
        <pc:spChg chg="add mod ord">
          <ac:chgData name="Thomas Stensitzki" userId="75cafe6b-2f2a-469b-85c4-eec3b9c972ba" providerId="ADAL" clId="{9C6FE5FE-931F-4020-9063-3CD210EE2AD2}" dt="2022-09-02T11:26:32.502" v="892"/>
          <ac:spMkLst>
            <pc:docMk/>
            <pc:sldMk cId="2250619919" sldId="765"/>
            <ac:spMk id="4" creationId="{14230A85-3CA9-0004-8E5B-FF7DA7BE0501}"/>
          </ac:spMkLst>
        </pc:spChg>
        <pc:spChg chg="add mod ord">
          <ac:chgData name="Thomas Stensitzki" userId="75cafe6b-2f2a-469b-85c4-eec3b9c972ba" providerId="ADAL" clId="{9C6FE5FE-931F-4020-9063-3CD210EE2AD2}" dt="2022-09-10T16:43:16.984" v="3907" actId="113"/>
          <ac:spMkLst>
            <pc:docMk/>
            <pc:sldMk cId="2250619919" sldId="765"/>
            <ac:spMk id="5" creationId="{3B152DE3-6157-3DA2-824C-9049DABC679E}"/>
          </ac:spMkLst>
        </pc:spChg>
      </pc:sldChg>
      <pc:sldChg chg="modSp add mod modTransition">
        <pc:chgData name="Thomas Stensitzki" userId="75cafe6b-2f2a-469b-85c4-eec3b9c972ba" providerId="ADAL" clId="{9C6FE5FE-931F-4020-9063-3CD210EE2AD2}" dt="2022-09-09T18:02:52.448" v="960"/>
        <pc:sldMkLst>
          <pc:docMk/>
          <pc:sldMk cId="3393852714" sldId="766"/>
        </pc:sldMkLst>
        <pc:spChg chg="mod">
          <ac:chgData name="Thomas Stensitzki" userId="75cafe6b-2f2a-469b-85c4-eec3b9c972ba" providerId="ADAL" clId="{9C6FE5FE-931F-4020-9063-3CD210EE2AD2}" dt="2022-09-02T11:27:10.122" v="900" actId="15"/>
          <ac:spMkLst>
            <pc:docMk/>
            <pc:sldMk cId="3393852714" sldId="766"/>
            <ac:spMk id="5" creationId="{3B152DE3-6157-3DA2-824C-9049DABC679E}"/>
          </ac:spMkLst>
        </pc:spChg>
      </pc:sldChg>
      <pc:sldChg chg="addSp delSp modSp new mod modTransition modClrScheme chgLayout">
        <pc:chgData name="Thomas Stensitzki" userId="75cafe6b-2f2a-469b-85c4-eec3b9c972ba" providerId="ADAL" clId="{9C6FE5FE-931F-4020-9063-3CD210EE2AD2}" dt="2022-09-09T18:02:52.448" v="960"/>
        <pc:sldMkLst>
          <pc:docMk/>
          <pc:sldMk cId="2063905182" sldId="767"/>
        </pc:sldMkLst>
        <pc:spChg chg="del mod ord">
          <ac:chgData name="Thomas Stensitzki" userId="75cafe6b-2f2a-469b-85c4-eec3b9c972ba" providerId="ADAL" clId="{9C6FE5FE-931F-4020-9063-3CD210EE2AD2}" dt="2022-09-02T11:27:38.818" v="904" actId="700"/>
          <ac:spMkLst>
            <pc:docMk/>
            <pc:sldMk cId="2063905182" sldId="767"/>
            <ac:spMk id="2" creationId="{FF72F03B-C083-9F68-5777-9E54176EE31B}"/>
          </ac:spMkLst>
        </pc:spChg>
        <pc:spChg chg="del mod ord">
          <ac:chgData name="Thomas Stensitzki" userId="75cafe6b-2f2a-469b-85c4-eec3b9c972ba" providerId="ADAL" clId="{9C6FE5FE-931F-4020-9063-3CD210EE2AD2}" dt="2022-09-02T11:27:38.818" v="904" actId="700"/>
          <ac:spMkLst>
            <pc:docMk/>
            <pc:sldMk cId="2063905182" sldId="767"/>
            <ac:spMk id="3" creationId="{3B1D9F9C-4CD8-EF21-3276-97BBE7C17286}"/>
          </ac:spMkLst>
        </pc:spChg>
        <pc:spChg chg="del">
          <ac:chgData name="Thomas Stensitzki" userId="75cafe6b-2f2a-469b-85c4-eec3b9c972ba" providerId="ADAL" clId="{9C6FE5FE-931F-4020-9063-3CD210EE2AD2}" dt="2022-09-02T11:27:38.818" v="904" actId="700"/>
          <ac:spMkLst>
            <pc:docMk/>
            <pc:sldMk cId="2063905182" sldId="767"/>
            <ac:spMk id="4" creationId="{266F8E53-82C6-A993-C347-538D151EE29E}"/>
          </ac:spMkLst>
        </pc:spChg>
        <pc:spChg chg="add mod ord">
          <ac:chgData name="Thomas Stensitzki" userId="75cafe6b-2f2a-469b-85c4-eec3b9c972ba" providerId="ADAL" clId="{9C6FE5FE-931F-4020-9063-3CD210EE2AD2}" dt="2022-09-02T11:27:44.349" v="915" actId="6549"/>
          <ac:spMkLst>
            <pc:docMk/>
            <pc:sldMk cId="2063905182" sldId="767"/>
            <ac:spMk id="5" creationId="{083B08FF-75AA-BCC1-24BE-86E3524464B6}"/>
          </ac:spMkLst>
        </pc:spChg>
        <pc:spChg chg="add mod ord">
          <ac:chgData name="Thomas Stensitzki" userId="75cafe6b-2f2a-469b-85c4-eec3b9c972ba" providerId="ADAL" clId="{9C6FE5FE-931F-4020-9063-3CD210EE2AD2}" dt="2022-09-02T11:28:06.773" v="920" actId="404"/>
          <ac:spMkLst>
            <pc:docMk/>
            <pc:sldMk cId="2063905182" sldId="767"/>
            <ac:spMk id="6" creationId="{44508913-AED2-BD8A-B0AB-E490665E0574}"/>
          </ac:spMkLst>
        </pc:spChg>
      </pc:sldChg>
      <pc:sldChg chg="modTransition">
        <pc:chgData name="Thomas Stensitzki" userId="75cafe6b-2f2a-469b-85c4-eec3b9c972ba" providerId="ADAL" clId="{9C6FE5FE-931F-4020-9063-3CD210EE2AD2}" dt="2022-09-09T18:02:52.448" v="960"/>
        <pc:sldMkLst>
          <pc:docMk/>
          <pc:sldMk cId="1205351582" sldId="783"/>
        </pc:sldMkLst>
      </pc:sldChg>
      <pc:sldChg chg="addSp delSp modSp add mod modTransition">
        <pc:chgData name="Thomas Stensitzki" userId="75cafe6b-2f2a-469b-85c4-eec3b9c972ba" providerId="ADAL" clId="{9C6FE5FE-931F-4020-9063-3CD210EE2AD2}" dt="2022-09-10T14:50:15.151" v="1094"/>
        <pc:sldMkLst>
          <pc:docMk/>
          <pc:sldMk cId="868293678" sldId="784"/>
        </pc:sldMkLst>
        <pc:picChg chg="add del mod">
          <ac:chgData name="Thomas Stensitzki" userId="75cafe6b-2f2a-469b-85c4-eec3b9c972ba" providerId="ADAL" clId="{9C6FE5FE-931F-4020-9063-3CD210EE2AD2}" dt="2022-09-09T17:58:22.161" v="926" actId="478"/>
          <ac:picMkLst>
            <pc:docMk/>
            <pc:sldMk cId="868293678" sldId="784"/>
            <ac:picMk id="6" creationId="{BBD32A03-92F6-04E1-3D98-53310D5533A9}"/>
          </ac:picMkLst>
        </pc:picChg>
        <pc:picChg chg="add del mod">
          <ac:chgData name="Thomas Stensitzki" userId="75cafe6b-2f2a-469b-85c4-eec3b9c972ba" providerId="ADAL" clId="{9C6FE5FE-931F-4020-9063-3CD210EE2AD2}" dt="2022-09-09T17:58:44.450" v="929" actId="478"/>
          <ac:picMkLst>
            <pc:docMk/>
            <pc:sldMk cId="868293678" sldId="784"/>
            <ac:picMk id="7" creationId="{578E016A-C2AF-E4C3-D876-BB5C55716D6B}"/>
          </ac:picMkLst>
        </pc:picChg>
      </pc:sldChg>
      <pc:sldChg chg="modSp add mod modTransition">
        <pc:chgData name="Thomas Stensitzki" userId="75cafe6b-2f2a-469b-85c4-eec3b9c972ba" providerId="ADAL" clId="{9C6FE5FE-931F-4020-9063-3CD210EE2AD2}" dt="2022-09-10T14:51:00.715" v="1101" actId="6549"/>
        <pc:sldMkLst>
          <pc:docMk/>
          <pc:sldMk cId="2419992518" sldId="785"/>
        </pc:sldMkLst>
        <pc:spChg chg="mod">
          <ac:chgData name="Thomas Stensitzki" userId="75cafe6b-2f2a-469b-85c4-eec3b9c972ba" providerId="ADAL" clId="{9C6FE5FE-931F-4020-9063-3CD210EE2AD2}" dt="2022-09-10T14:51:00.715" v="1101" actId="6549"/>
          <ac:spMkLst>
            <pc:docMk/>
            <pc:sldMk cId="2419992518" sldId="785"/>
            <ac:spMk id="6" creationId="{A8CBD3AE-47B3-81EB-F790-5C87AF20389A}"/>
          </ac:spMkLst>
        </pc:spChg>
      </pc:sldChg>
      <pc:sldChg chg="modSp">
        <pc:chgData name="Thomas Stensitzki" userId="75cafe6b-2f2a-469b-85c4-eec3b9c972ba" providerId="ADAL" clId="{9C6FE5FE-931F-4020-9063-3CD210EE2AD2}" dt="2022-09-10T16:45:39.822" v="3912" actId="20577"/>
        <pc:sldMkLst>
          <pc:docMk/>
          <pc:sldMk cId="2646819031" sldId="786"/>
        </pc:sldMkLst>
        <pc:spChg chg="mod">
          <ac:chgData name="Thomas Stensitzki" userId="75cafe6b-2f2a-469b-85c4-eec3b9c972ba" providerId="ADAL" clId="{9C6FE5FE-931F-4020-9063-3CD210EE2AD2}" dt="2022-09-10T16:45:39.822" v="3912" actId="20577"/>
          <ac:spMkLst>
            <pc:docMk/>
            <pc:sldMk cId="2646819031" sldId="786"/>
            <ac:spMk id="5" creationId="{3B152DE3-6157-3DA2-824C-9049DABC679E}"/>
          </ac:spMkLst>
        </pc:spChg>
      </pc:sldChg>
      <pc:sldChg chg="modSp modAnim">
        <pc:chgData name="Thomas Stensitzki" userId="75cafe6b-2f2a-469b-85c4-eec3b9c972ba" providerId="ADAL" clId="{9C6FE5FE-931F-4020-9063-3CD210EE2AD2}" dt="2022-09-10T16:45:02.297" v="3910" actId="6549"/>
        <pc:sldMkLst>
          <pc:docMk/>
          <pc:sldMk cId="4135682071" sldId="787"/>
        </pc:sldMkLst>
        <pc:spChg chg="mod">
          <ac:chgData name="Thomas Stensitzki" userId="75cafe6b-2f2a-469b-85c4-eec3b9c972ba" providerId="ADAL" clId="{9C6FE5FE-931F-4020-9063-3CD210EE2AD2}" dt="2022-09-10T16:45:02.297" v="3910" actId="6549"/>
          <ac:spMkLst>
            <pc:docMk/>
            <pc:sldMk cId="4135682071" sldId="787"/>
            <ac:spMk id="5" creationId="{3B152DE3-6157-3DA2-824C-9049DABC679E}"/>
          </ac:spMkLst>
        </pc:spChg>
      </pc:sldChg>
      <pc:sldChg chg="add">
        <pc:chgData name="Thomas Stensitzki" userId="75cafe6b-2f2a-469b-85c4-eec3b9c972ba" providerId="ADAL" clId="{9C6FE5FE-931F-4020-9063-3CD210EE2AD2}" dt="2022-09-10T14:58:57.260" v="1135"/>
        <pc:sldMkLst>
          <pc:docMk/>
          <pc:sldMk cId="1057244915" sldId="789"/>
        </pc:sldMkLst>
      </pc:sldChg>
      <pc:sldChg chg="modSp add del ord">
        <pc:chgData name="Thomas Stensitzki" userId="75cafe6b-2f2a-469b-85c4-eec3b9c972ba" providerId="ADAL" clId="{9C6FE5FE-931F-4020-9063-3CD210EE2AD2}" dt="2022-09-10T14:54:55.334" v="1134" actId="47"/>
        <pc:sldMkLst>
          <pc:docMk/>
          <pc:sldMk cId="2099158298" sldId="789"/>
        </pc:sldMkLst>
        <pc:spChg chg="mod">
          <ac:chgData name="Thomas Stensitzki" userId="75cafe6b-2f2a-469b-85c4-eec3b9c972ba" providerId="ADAL" clId="{9C6FE5FE-931F-4020-9063-3CD210EE2AD2}" dt="2022-09-10T14:54:52.086" v="1133" actId="20577"/>
          <ac:spMkLst>
            <pc:docMk/>
            <pc:sldMk cId="2099158298" sldId="789"/>
            <ac:spMk id="4" creationId="{51EA3F20-7D93-4417-719A-8B15E76A25F8}"/>
          </ac:spMkLst>
        </pc:spChg>
      </pc:sldChg>
      <pc:sldChg chg="addSp delSp modSp add mod ord modAnim">
        <pc:chgData name="Thomas Stensitzki" userId="75cafe6b-2f2a-469b-85c4-eec3b9c972ba" providerId="ADAL" clId="{9C6FE5FE-931F-4020-9063-3CD210EE2AD2}" dt="2022-09-10T16:07:55.981" v="2535"/>
        <pc:sldMkLst>
          <pc:docMk/>
          <pc:sldMk cId="3560655362" sldId="790"/>
        </pc:sldMkLst>
        <pc:spChg chg="del">
          <ac:chgData name="Thomas Stensitzki" userId="75cafe6b-2f2a-469b-85c4-eec3b9c972ba" providerId="ADAL" clId="{9C6FE5FE-931F-4020-9063-3CD210EE2AD2}" dt="2022-09-10T15:50:44.398" v="1759" actId="478"/>
          <ac:spMkLst>
            <pc:docMk/>
            <pc:sldMk cId="3560655362" sldId="790"/>
            <ac:spMk id="10" creationId="{C97CB1C6-D39F-3990-C30F-89E3E471F8B4}"/>
          </ac:spMkLst>
        </pc:spChg>
        <pc:spChg chg="add mod">
          <ac:chgData name="Thomas Stensitzki" userId="75cafe6b-2f2a-469b-85c4-eec3b9c972ba" providerId="ADAL" clId="{9C6FE5FE-931F-4020-9063-3CD210EE2AD2}" dt="2022-09-10T15:57:08.830" v="2183" actId="20577"/>
          <ac:spMkLst>
            <pc:docMk/>
            <pc:sldMk cId="3560655362" sldId="790"/>
            <ac:spMk id="31" creationId="{609208FD-CE7D-7254-48BB-6D6C6D9BAFE9}"/>
          </ac:spMkLst>
        </pc:spChg>
        <pc:grpChg chg="del">
          <ac:chgData name="Thomas Stensitzki" userId="75cafe6b-2f2a-469b-85c4-eec3b9c972ba" providerId="ADAL" clId="{9C6FE5FE-931F-4020-9063-3CD210EE2AD2}" dt="2022-09-10T15:50:44.398" v="1759" actId="478"/>
          <ac:grpSpMkLst>
            <pc:docMk/>
            <pc:sldMk cId="3560655362" sldId="790"/>
            <ac:grpSpMk id="19" creationId="{6C5229C4-3484-A0B9-DB96-CFA27475978C}"/>
          </ac:grpSpMkLst>
        </pc:grpChg>
        <pc:grpChg chg="del">
          <ac:chgData name="Thomas Stensitzki" userId="75cafe6b-2f2a-469b-85c4-eec3b9c972ba" providerId="ADAL" clId="{9C6FE5FE-931F-4020-9063-3CD210EE2AD2}" dt="2022-09-10T15:50:44.398" v="1759" actId="478"/>
          <ac:grpSpMkLst>
            <pc:docMk/>
            <pc:sldMk cId="3560655362" sldId="790"/>
            <ac:grpSpMk id="20" creationId="{872EB378-83DD-A108-942A-E6379E57B4E8}"/>
          </ac:grpSpMkLst>
        </pc:grpChg>
        <pc:picChg chg="add del mod">
          <ac:chgData name="Thomas Stensitzki" userId="75cafe6b-2f2a-469b-85c4-eec3b9c972ba" providerId="ADAL" clId="{9C6FE5FE-931F-4020-9063-3CD210EE2AD2}" dt="2022-09-10T16:04:49.298" v="2529" actId="478"/>
          <ac:picMkLst>
            <pc:docMk/>
            <pc:sldMk cId="3560655362" sldId="790"/>
            <ac:picMk id="4" creationId="{8C8FE6CE-44FA-79CA-A823-64CCC7663345}"/>
          </ac:picMkLst>
        </pc:picChg>
        <pc:picChg chg="del">
          <ac:chgData name="Thomas Stensitzki" userId="75cafe6b-2f2a-469b-85c4-eec3b9c972ba" providerId="ADAL" clId="{9C6FE5FE-931F-4020-9063-3CD210EE2AD2}" dt="2022-09-10T15:50:44.398" v="1759" actId="478"/>
          <ac:picMkLst>
            <pc:docMk/>
            <pc:sldMk cId="3560655362" sldId="790"/>
            <ac:picMk id="6" creationId="{302ABC0E-52A2-561B-9EC0-9E4D245B6BF1}"/>
          </ac:picMkLst>
        </pc:picChg>
        <pc:picChg chg="add mod">
          <ac:chgData name="Thomas Stensitzki" userId="75cafe6b-2f2a-469b-85c4-eec3b9c972ba" providerId="ADAL" clId="{9C6FE5FE-931F-4020-9063-3CD210EE2AD2}" dt="2022-09-10T16:04:49.659" v="2530"/>
          <ac:picMkLst>
            <pc:docMk/>
            <pc:sldMk cId="3560655362" sldId="790"/>
            <ac:picMk id="32" creationId="{33FEFDE0-F21F-7A37-EC83-655C301028EA}"/>
          </ac:picMkLst>
        </pc:picChg>
        <pc:cxnChg chg="del mod">
          <ac:chgData name="Thomas Stensitzki" userId="75cafe6b-2f2a-469b-85c4-eec3b9c972ba" providerId="ADAL" clId="{9C6FE5FE-931F-4020-9063-3CD210EE2AD2}" dt="2022-09-10T15:50:44.398" v="1759" actId="478"/>
          <ac:cxnSpMkLst>
            <pc:docMk/>
            <pc:sldMk cId="3560655362" sldId="790"/>
            <ac:cxnSpMk id="14" creationId="{89DA9212-06F5-14EB-AFCE-562BFF48AD20}"/>
          </ac:cxnSpMkLst>
        </pc:cxnChg>
        <pc:cxnChg chg="del mod">
          <ac:chgData name="Thomas Stensitzki" userId="75cafe6b-2f2a-469b-85c4-eec3b9c972ba" providerId="ADAL" clId="{9C6FE5FE-931F-4020-9063-3CD210EE2AD2}" dt="2022-09-10T15:50:44.398" v="1759" actId="478"/>
          <ac:cxnSpMkLst>
            <pc:docMk/>
            <pc:sldMk cId="3560655362" sldId="790"/>
            <ac:cxnSpMk id="15" creationId="{0C89890C-FAE2-BB5A-DC45-3BE7F3832100}"/>
          </ac:cxnSpMkLst>
        </pc:cxnChg>
      </pc:sldChg>
      <pc:sldChg chg="addSp delSp modSp add mod modAnim">
        <pc:chgData name="Thomas Stensitzki" userId="75cafe6b-2f2a-469b-85c4-eec3b9c972ba" providerId="ADAL" clId="{9C6FE5FE-931F-4020-9063-3CD210EE2AD2}" dt="2022-09-10T16:09:10.904" v="2545"/>
        <pc:sldMkLst>
          <pc:docMk/>
          <pc:sldMk cId="2333429463" sldId="791"/>
        </pc:sldMkLst>
        <pc:spChg chg="mod">
          <ac:chgData name="Thomas Stensitzki" userId="75cafe6b-2f2a-469b-85c4-eec3b9c972ba" providerId="ADAL" clId="{9C6FE5FE-931F-4020-9063-3CD210EE2AD2}" dt="2022-09-10T16:00:34.352" v="2332" actId="20577"/>
          <ac:spMkLst>
            <pc:docMk/>
            <pc:sldMk cId="2333429463" sldId="791"/>
            <ac:spMk id="39" creationId="{767480F7-7FE9-1E94-9017-5EBBDEE3A48A}"/>
          </ac:spMkLst>
        </pc:spChg>
        <pc:picChg chg="add del mod">
          <ac:chgData name="Thomas Stensitzki" userId="75cafe6b-2f2a-469b-85c4-eec3b9c972ba" providerId="ADAL" clId="{9C6FE5FE-931F-4020-9063-3CD210EE2AD2}" dt="2022-09-10T16:04:31.141" v="2524" actId="478"/>
          <ac:picMkLst>
            <pc:docMk/>
            <pc:sldMk cId="2333429463" sldId="791"/>
            <ac:picMk id="4" creationId="{5A20DF3E-B799-37F6-5CED-B5C902D90B73}"/>
          </ac:picMkLst>
        </pc:picChg>
        <pc:picChg chg="add del mod">
          <ac:chgData name="Thomas Stensitzki" userId="75cafe6b-2f2a-469b-85c4-eec3b9c972ba" providerId="ADAL" clId="{9C6FE5FE-931F-4020-9063-3CD210EE2AD2}" dt="2022-09-10T16:01:15.461" v="2338" actId="478"/>
          <ac:picMkLst>
            <pc:docMk/>
            <pc:sldMk cId="2333429463" sldId="791"/>
            <ac:picMk id="6" creationId="{32487842-D1EF-5202-B285-05994C1057A4}"/>
          </ac:picMkLst>
        </pc:picChg>
        <pc:picChg chg="add mod">
          <ac:chgData name="Thomas Stensitzki" userId="75cafe6b-2f2a-469b-85c4-eec3b9c972ba" providerId="ADAL" clId="{9C6FE5FE-931F-4020-9063-3CD210EE2AD2}" dt="2022-09-10T16:04:36.960" v="2526" actId="1076"/>
          <ac:picMkLst>
            <pc:docMk/>
            <pc:sldMk cId="2333429463" sldId="791"/>
            <ac:picMk id="18" creationId="{017C4B7F-7E9C-3D9D-A8FB-50737DAEF26B}"/>
          </ac:picMkLst>
        </pc:picChg>
        <pc:picChg chg="mod">
          <ac:chgData name="Thomas Stensitzki" userId="75cafe6b-2f2a-469b-85c4-eec3b9c972ba" providerId="ADAL" clId="{9C6FE5FE-931F-4020-9063-3CD210EE2AD2}" dt="2022-09-10T15:59:19.847" v="2205" actId="14826"/>
          <ac:picMkLst>
            <pc:docMk/>
            <pc:sldMk cId="2333429463" sldId="791"/>
            <ac:picMk id="21" creationId="{727FCDE3-9717-EC35-8F1B-19A7BA06682C}"/>
          </ac:picMkLst>
        </pc:picChg>
      </pc:sldChg>
      <pc:sldChg chg="addSp delSp modSp add mod modAnim">
        <pc:chgData name="Thomas Stensitzki" userId="75cafe6b-2f2a-469b-85c4-eec3b9c972ba" providerId="ADAL" clId="{9C6FE5FE-931F-4020-9063-3CD210EE2AD2}" dt="2022-09-10T16:09:51.649" v="2551"/>
        <pc:sldMkLst>
          <pc:docMk/>
          <pc:sldMk cId="1052312450" sldId="792"/>
        </pc:sldMkLst>
        <pc:spChg chg="mod">
          <ac:chgData name="Thomas Stensitzki" userId="75cafe6b-2f2a-469b-85c4-eec3b9c972ba" providerId="ADAL" clId="{9C6FE5FE-931F-4020-9063-3CD210EE2AD2}" dt="2022-09-10T16:04:08.574" v="2520" actId="20577"/>
          <ac:spMkLst>
            <pc:docMk/>
            <pc:sldMk cId="1052312450" sldId="792"/>
            <ac:spMk id="39" creationId="{767480F7-7FE9-1E94-9017-5EBBDEE3A48A}"/>
          </ac:spMkLst>
        </pc:spChg>
        <pc:picChg chg="mod">
          <ac:chgData name="Thomas Stensitzki" userId="75cafe6b-2f2a-469b-85c4-eec3b9c972ba" providerId="ADAL" clId="{9C6FE5FE-931F-4020-9063-3CD210EE2AD2}" dt="2022-09-10T16:09:46.561" v="2549" actId="1076"/>
          <ac:picMkLst>
            <pc:docMk/>
            <pc:sldMk cId="1052312450" sldId="792"/>
            <ac:picMk id="4" creationId="{5A20DF3E-B799-37F6-5CED-B5C902D90B73}"/>
          </ac:picMkLst>
        </pc:picChg>
        <pc:picChg chg="add mod">
          <ac:chgData name="Thomas Stensitzki" userId="75cafe6b-2f2a-469b-85c4-eec3b9c972ba" providerId="ADAL" clId="{9C6FE5FE-931F-4020-9063-3CD210EE2AD2}" dt="2022-09-10T16:02:45.160" v="2353" actId="1037"/>
          <ac:picMkLst>
            <pc:docMk/>
            <pc:sldMk cId="1052312450" sldId="792"/>
            <ac:picMk id="7" creationId="{1B957D9F-D3ED-BD06-93FD-FD60D6701138}"/>
          </ac:picMkLst>
        </pc:picChg>
        <pc:picChg chg="add mod">
          <ac:chgData name="Thomas Stensitzki" userId="75cafe6b-2f2a-469b-85c4-eec3b9c972ba" providerId="ADAL" clId="{9C6FE5FE-931F-4020-9063-3CD210EE2AD2}" dt="2022-09-10T16:01:44.032" v="2342"/>
          <ac:picMkLst>
            <pc:docMk/>
            <pc:sldMk cId="1052312450" sldId="792"/>
            <ac:picMk id="15" creationId="{C916CE25-17EA-46AC-00E3-C7C6716D52A7}"/>
          </ac:picMkLst>
        </pc:picChg>
        <pc:picChg chg="del">
          <ac:chgData name="Thomas Stensitzki" userId="75cafe6b-2f2a-469b-85c4-eec3b9c972ba" providerId="ADAL" clId="{9C6FE5FE-931F-4020-9063-3CD210EE2AD2}" dt="2022-09-10T16:01:37.605" v="2341" actId="478"/>
          <ac:picMkLst>
            <pc:docMk/>
            <pc:sldMk cId="1052312450" sldId="792"/>
            <ac:picMk id="21" creationId="{727FCDE3-9717-EC35-8F1B-19A7BA06682C}"/>
          </ac:picMkLst>
        </pc:picChg>
        <pc:cxnChg chg="mod">
          <ac:chgData name="Thomas Stensitzki" userId="75cafe6b-2f2a-469b-85c4-eec3b9c972ba" providerId="ADAL" clId="{9C6FE5FE-931F-4020-9063-3CD210EE2AD2}" dt="2022-09-10T16:02:52.648" v="2354" actId="33986"/>
          <ac:cxnSpMkLst>
            <pc:docMk/>
            <pc:sldMk cId="1052312450" sldId="792"/>
            <ac:cxnSpMk id="14" creationId="{89DA9212-06F5-14EB-AFCE-562BFF48AD20}"/>
          </ac:cxnSpMkLst>
        </pc:cxnChg>
        <pc:cxnChg chg="mod">
          <ac:chgData name="Thomas Stensitzki" userId="75cafe6b-2f2a-469b-85c4-eec3b9c972ba" providerId="ADAL" clId="{9C6FE5FE-931F-4020-9063-3CD210EE2AD2}" dt="2022-09-10T16:03:05.470" v="2356" actId="14100"/>
          <ac:cxnSpMkLst>
            <pc:docMk/>
            <pc:sldMk cId="1052312450" sldId="792"/>
            <ac:cxnSpMk id="27" creationId="{38286CF7-6DFE-5968-6B3B-1EA9196E3CDB}"/>
          </ac:cxnSpMkLst>
        </pc:cxnChg>
      </pc:sldChg>
      <pc:sldChg chg="addSp delSp modSp new mod modClrScheme chgLayout">
        <pc:chgData name="Thomas Stensitzki" userId="75cafe6b-2f2a-469b-85c4-eec3b9c972ba" providerId="ADAL" clId="{9C6FE5FE-931F-4020-9063-3CD210EE2AD2}" dt="2022-09-10T16:41:09.409" v="3830" actId="20577"/>
        <pc:sldMkLst>
          <pc:docMk/>
          <pc:sldMk cId="4085174588" sldId="793"/>
        </pc:sldMkLst>
        <pc:spChg chg="del mod ord">
          <ac:chgData name="Thomas Stensitzki" userId="75cafe6b-2f2a-469b-85c4-eec3b9c972ba" providerId="ADAL" clId="{9C6FE5FE-931F-4020-9063-3CD210EE2AD2}" dt="2022-09-10T16:13:57.674" v="2553" actId="700"/>
          <ac:spMkLst>
            <pc:docMk/>
            <pc:sldMk cId="4085174588" sldId="793"/>
            <ac:spMk id="2" creationId="{2C89D719-F298-5216-A6B8-35A51AA90CDE}"/>
          </ac:spMkLst>
        </pc:spChg>
        <pc:spChg chg="del mod ord">
          <ac:chgData name="Thomas Stensitzki" userId="75cafe6b-2f2a-469b-85c4-eec3b9c972ba" providerId="ADAL" clId="{9C6FE5FE-931F-4020-9063-3CD210EE2AD2}" dt="2022-09-10T16:13:57.674" v="2553" actId="700"/>
          <ac:spMkLst>
            <pc:docMk/>
            <pc:sldMk cId="4085174588" sldId="793"/>
            <ac:spMk id="3" creationId="{FEF69DE1-374E-9934-902A-0DEFCA5590AC}"/>
          </ac:spMkLst>
        </pc:spChg>
        <pc:spChg chg="del">
          <ac:chgData name="Thomas Stensitzki" userId="75cafe6b-2f2a-469b-85c4-eec3b9c972ba" providerId="ADAL" clId="{9C6FE5FE-931F-4020-9063-3CD210EE2AD2}" dt="2022-09-10T16:13:57.674" v="2553" actId="700"/>
          <ac:spMkLst>
            <pc:docMk/>
            <pc:sldMk cId="4085174588" sldId="793"/>
            <ac:spMk id="4" creationId="{59DD72B6-22AB-7977-ED89-1A46AC1FF56A}"/>
          </ac:spMkLst>
        </pc:spChg>
        <pc:spChg chg="add mod ord">
          <ac:chgData name="Thomas Stensitzki" userId="75cafe6b-2f2a-469b-85c4-eec3b9c972ba" providerId="ADAL" clId="{9C6FE5FE-931F-4020-9063-3CD210EE2AD2}" dt="2022-09-10T16:41:09.409" v="3830" actId="20577"/>
          <ac:spMkLst>
            <pc:docMk/>
            <pc:sldMk cId="4085174588" sldId="793"/>
            <ac:spMk id="5" creationId="{5EED719B-D0B3-CA54-EDCE-BF3FC803E1FD}"/>
          </ac:spMkLst>
        </pc:spChg>
        <pc:spChg chg="add mod ord">
          <ac:chgData name="Thomas Stensitzki" userId="75cafe6b-2f2a-469b-85c4-eec3b9c972ba" providerId="ADAL" clId="{9C6FE5FE-931F-4020-9063-3CD210EE2AD2}" dt="2022-09-10T16:13:57.674" v="2553" actId="700"/>
          <ac:spMkLst>
            <pc:docMk/>
            <pc:sldMk cId="4085174588" sldId="793"/>
            <ac:spMk id="6" creationId="{300C496E-860F-829C-5888-D0EEA3A381AD}"/>
          </ac:spMkLst>
        </pc:spChg>
      </pc:sldChg>
      <pc:sldChg chg="addSp delSp modSp new mod modClrScheme chgLayout">
        <pc:chgData name="Thomas Stensitzki" userId="75cafe6b-2f2a-469b-85c4-eec3b9c972ba" providerId="ADAL" clId="{9C6FE5FE-931F-4020-9063-3CD210EE2AD2}" dt="2022-09-10T16:15:29.186" v="2703" actId="6549"/>
        <pc:sldMkLst>
          <pc:docMk/>
          <pc:sldMk cId="1640082434" sldId="794"/>
        </pc:sldMkLst>
        <pc:spChg chg="del mod ord">
          <ac:chgData name="Thomas Stensitzki" userId="75cafe6b-2f2a-469b-85c4-eec3b9c972ba" providerId="ADAL" clId="{9C6FE5FE-931F-4020-9063-3CD210EE2AD2}" dt="2022-09-10T16:14:49.707" v="2632" actId="700"/>
          <ac:spMkLst>
            <pc:docMk/>
            <pc:sldMk cId="1640082434" sldId="794"/>
            <ac:spMk id="2" creationId="{29CEEC42-5F15-CB62-CA0D-EEFA8A06BE6D}"/>
          </ac:spMkLst>
        </pc:spChg>
        <pc:spChg chg="del mod ord">
          <ac:chgData name="Thomas Stensitzki" userId="75cafe6b-2f2a-469b-85c4-eec3b9c972ba" providerId="ADAL" clId="{9C6FE5FE-931F-4020-9063-3CD210EE2AD2}" dt="2022-09-10T16:14:49.707" v="2632" actId="700"/>
          <ac:spMkLst>
            <pc:docMk/>
            <pc:sldMk cId="1640082434" sldId="794"/>
            <ac:spMk id="3" creationId="{09586A2A-D964-C9A8-3825-CD0CA0AA5723}"/>
          </ac:spMkLst>
        </pc:spChg>
        <pc:spChg chg="add mod ord">
          <ac:chgData name="Thomas Stensitzki" userId="75cafe6b-2f2a-469b-85c4-eec3b9c972ba" providerId="ADAL" clId="{9C6FE5FE-931F-4020-9063-3CD210EE2AD2}" dt="2022-09-10T16:15:03.197" v="2657" actId="20577"/>
          <ac:spMkLst>
            <pc:docMk/>
            <pc:sldMk cId="1640082434" sldId="794"/>
            <ac:spMk id="4" creationId="{C8286F9A-03BA-53DB-BFB9-673E208ACB09}"/>
          </ac:spMkLst>
        </pc:spChg>
        <pc:spChg chg="add mod ord">
          <ac:chgData name="Thomas Stensitzki" userId="75cafe6b-2f2a-469b-85c4-eec3b9c972ba" providerId="ADAL" clId="{9C6FE5FE-931F-4020-9063-3CD210EE2AD2}" dt="2022-09-10T16:15:29.186" v="2703" actId="6549"/>
          <ac:spMkLst>
            <pc:docMk/>
            <pc:sldMk cId="1640082434" sldId="794"/>
            <ac:spMk id="5" creationId="{C3EE38D4-0E11-743E-1807-62DCB7E0B6E7}"/>
          </ac:spMkLst>
        </pc:spChg>
      </pc:sldChg>
      <pc:sldChg chg="addSp delSp modSp new mod modTransition modAnim">
        <pc:chgData name="Thomas Stensitzki" userId="75cafe6b-2f2a-469b-85c4-eec3b9c972ba" providerId="ADAL" clId="{9C6FE5FE-931F-4020-9063-3CD210EE2AD2}" dt="2022-09-10T16:30:05.874" v="2937"/>
        <pc:sldMkLst>
          <pc:docMk/>
          <pc:sldMk cId="3063824319" sldId="795"/>
        </pc:sldMkLst>
        <pc:spChg chg="mod">
          <ac:chgData name="Thomas Stensitzki" userId="75cafe6b-2f2a-469b-85c4-eec3b9c972ba" providerId="ADAL" clId="{9C6FE5FE-931F-4020-9063-3CD210EE2AD2}" dt="2022-09-10T16:20:11.347" v="2850" actId="20577"/>
          <ac:spMkLst>
            <pc:docMk/>
            <pc:sldMk cId="3063824319" sldId="795"/>
            <ac:spMk id="2" creationId="{359F3CA6-18FC-B2AB-5561-E6F1918DDC0F}"/>
          </ac:spMkLst>
        </pc:spChg>
        <pc:spChg chg="del">
          <ac:chgData name="Thomas Stensitzki" userId="75cafe6b-2f2a-469b-85c4-eec3b9c972ba" providerId="ADAL" clId="{9C6FE5FE-931F-4020-9063-3CD210EE2AD2}" dt="2022-09-10T16:19:20.356" v="2819" actId="478"/>
          <ac:spMkLst>
            <pc:docMk/>
            <pc:sldMk cId="3063824319" sldId="795"/>
            <ac:spMk id="3" creationId="{16B75204-21BA-2575-FD6A-7402D457B281}"/>
          </ac:spMkLst>
        </pc:spChg>
        <pc:spChg chg="add mod">
          <ac:chgData name="Thomas Stensitzki" userId="75cafe6b-2f2a-469b-85c4-eec3b9c972ba" providerId="ADAL" clId="{9C6FE5FE-931F-4020-9063-3CD210EE2AD2}" dt="2022-09-10T16:20:25.303" v="2852" actId="14100"/>
          <ac:spMkLst>
            <pc:docMk/>
            <pc:sldMk cId="3063824319" sldId="795"/>
            <ac:spMk id="6" creationId="{8E94A85C-C163-666A-0CF9-4AA53F6A96C6}"/>
          </ac:spMkLst>
        </pc:spChg>
        <pc:spChg chg="mod">
          <ac:chgData name="Thomas Stensitzki" userId="75cafe6b-2f2a-469b-85c4-eec3b9c972ba" providerId="ADAL" clId="{9C6FE5FE-931F-4020-9063-3CD210EE2AD2}" dt="2022-09-10T16:19:22.532" v="2820"/>
          <ac:spMkLst>
            <pc:docMk/>
            <pc:sldMk cId="3063824319" sldId="795"/>
            <ac:spMk id="13" creationId="{4CEFACFF-B1EA-0CA4-FB8E-4725D979CFFF}"/>
          </ac:spMkLst>
        </pc:spChg>
        <pc:grpChg chg="add mod">
          <ac:chgData name="Thomas Stensitzki" userId="75cafe6b-2f2a-469b-85c4-eec3b9c972ba" providerId="ADAL" clId="{9C6FE5FE-931F-4020-9063-3CD210EE2AD2}" dt="2022-09-10T16:19:54.493" v="2827" actId="1076"/>
          <ac:grpSpMkLst>
            <pc:docMk/>
            <pc:sldMk cId="3063824319" sldId="795"/>
            <ac:grpSpMk id="7" creationId="{72B13695-B117-8D6C-3BA0-7E7A8ADBC984}"/>
          </ac:grpSpMkLst>
        </pc:grpChg>
        <pc:grpChg chg="add mod">
          <ac:chgData name="Thomas Stensitzki" userId="75cafe6b-2f2a-469b-85c4-eec3b9c972ba" providerId="ADAL" clId="{9C6FE5FE-931F-4020-9063-3CD210EE2AD2}" dt="2022-09-10T16:19:49.617" v="2826" actId="1076"/>
          <ac:grpSpMkLst>
            <pc:docMk/>
            <pc:sldMk cId="3063824319" sldId="795"/>
            <ac:grpSpMk id="11" creationId="{DEE94483-6A9B-7DFA-10D2-A9F8DC263113}"/>
          </ac:grpSpMkLst>
        </pc:grpChg>
        <pc:grpChg chg="add mod">
          <ac:chgData name="Thomas Stensitzki" userId="75cafe6b-2f2a-469b-85c4-eec3b9c972ba" providerId="ADAL" clId="{9C6FE5FE-931F-4020-9063-3CD210EE2AD2}" dt="2022-09-10T16:24:22.239" v="2880" actId="1076"/>
          <ac:grpSpMkLst>
            <pc:docMk/>
            <pc:sldMk cId="3063824319" sldId="795"/>
            <ac:grpSpMk id="22" creationId="{FAB41F25-F7A8-A67C-1A0B-BA7F2A088E72}"/>
          </ac:grpSpMkLst>
        </pc:grpChg>
        <pc:grpChg chg="add mod">
          <ac:chgData name="Thomas Stensitzki" userId="75cafe6b-2f2a-469b-85c4-eec3b9c972ba" providerId="ADAL" clId="{9C6FE5FE-931F-4020-9063-3CD210EE2AD2}" dt="2022-09-10T16:24:19.172" v="2879" actId="1076"/>
          <ac:grpSpMkLst>
            <pc:docMk/>
            <pc:sldMk cId="3063824319" sldId="795"/>
            <ac:grpSpMk id="31" creationId="{69922C4B-63C9-798F-3164-E28AF34BDF63}"/>
          </ac:grpSpMkLst>
        </pc:grpChg>
        <pc:picChg chg="add mod">
          <ac:chgData name="Thomas Stensitzki" userId="75cafe6b-2f2a-469b-85c4-eec3b9c972ba" providerId="ADAL" clId="{9C6FE5FE-931F-4020-9063-3CD210EE2AD2}" dt="2022-09-10T16:19:45.326" v="2825" actId="1076"/>
          <ac:picMkLst>
            <pc:docMk/>
            <pc:sldMk cId="3063824319" sldId="795"/>
            <ac:picMk id="5" creationId="{30A8DC80-776F-E95E-8B4E-569B5DA1063A}"/>
          </ac:picMkLst>
        </pc:picChg>
        <pc:picChg chg="mod">
          <ac:chgData name="Thomas Stensitzki" userId="75cafe6b-2f2a-469b-85c4-eec3b9c972ba" providerId="ADAL" clId="{9C6FE5FE-931F-4020-9063-3CD210EE2AD2}" dt="2022-09-10T16:19:22.532" v="2820"/>
          <ac:picMkLst>
            <pc:docMk/>
            <pc:sldMk cId="3063824319" sldId="795"/>
            <ac:picMk id="8" creationId="{F0C84388-1433-A9E8-8591-0E478986DD71}"/>
          </ac:picMkLst>
        </pc:picChg>
        <pc:picChg chg="mod">
          <ac:chgData name="Thomas Stensitzki" userId="75cafe6b-2f2a-469b-85c4-eec3b9c972ba" providerId="ADAL" clId="{9C6FE5FE-931F-4020-9063-3CD210EE2AD2}" dt="2022-09-10T16:19:22.532" v="2820"/>
          <ac:picMkLst>
            <pc:docMk/>
            <pc:sldMk cId="3063824319" sldId="795"/>
            <ac:picMk id="9" creationId="{84070242-39E2-31D0-F207-BC123D270806}"/>
          </ac:picMkLst>
        </pc:picChg>
        <pc:picChg chg="mod">
          <ac:chgData name="Thomas Stensitzki" userId="75cafe6b-2f2a-469b-85c4-eec3b9c972ba" providerId="ADAL" clId="{9C6FE5FE-931F-4020-9063-3CD210EE2AD2}" dt="2022-09-10T16:19:22.532" v="2820"/>
          <ac:picMkLst>
            <pc:docMk/>
            <pc:sldMk cId="3063824319" sldId="795"/>
            <ac:picMk id="12" creationId="{DEF55736-735E-A51C-6435-9F427FE746B0}"/>
          </ac:picMkLst>
        </pc:picChg>
        <pc:picChg chg="add mod">
          <ac:chgData name="Thomas Stensitzki" userId="75cafe6b-2f2a-469b-85c4-eec3b9c972ba" providerId="ADAL" clId="{9C6FE5FE-931F-4020-9063-3CD210EE2AD2}" dt="2022-09-10T16:21:45.502" v="2859" actId="164"/>
          <ac:picMkLst>
            <pc:docMk/>
            <pc:sldMk cId="3063824319" sldId="795"/>
            <ac:picMk id="17" creationId="{35E476AB-621D-8D8B-F655-9A9597AD720F}"/>
          </ac:picMkLst>
        </pc:picChg>
        <pc:picChg chg="add mod">
          <ac:chgData name="Thomas Stensitzki" userId="75cafe6b-2f2a-469b-85c4-eec3b9c972ba" providerId="ADAL" clId="{9C6FE5FE-931F-4020-9063-3CD210EE2AD2}" dt="2022-09-10T16:21:45.502" v="2859" actId="164"/>
          <ac:picMkLst>
            <pc:docMk/>
            <pc:sldMk cId="3063824319" sldId="795"/>
            <ac:picMk id="19" creationId="{A8A4EFC9-E35E-107F-4BC9-2347675EAAF4}"/>
          </ac:picMkLst>
        </pc:picChg>
        <pc:picChg chg="add del mod">
          <ac:chgData name="Thomas Stensitzki" userId="75cafe6b-2f2a-469b-85c4-eec3b9c972ba" providerId="ADAL" clId="{9C6FE5FE-931F-4020-9063-3CD210EE2AD2}" dt="2022-09-10T16:21:40.977" v="2858"/>
          <ac:picMkLst>
            <pc:docMk/>
            <pc:sldMk cId="3063824319" sldId="795"/>
            <ac:picMk id="20" creationId="{9532023C-541B-5CB4-6C8F-3E41D7F6DB53}"/>
          </ac:picMkLst>
        </pc:picChg>
        <pc:picChg chg="add del mod">
          <ac:chgData name="Thomas Stensitzki" userId="75cafe6b-2f2a-469b-85c4-eec3b9c972ba" providerId="ADAL" clId="{9C6FE5FE-931F-4020-9063-3CD210EE2AD2}" dt="2022-09-10T16:21:40.977" v="2858"/>
          <ac:picMkLst>
            <pc:docMk/>
            <pc:sldMk cId="3063824319" sldId="795"/>
            <ac:picMk id="21" creationId="{E7BAEA0D-D03E-0431-655D-A623F8FBC348}"/>
          </ac:picMkLst>
        </pc:picChg>
        <pc:picChg chg="add mod">
          <ac:chgData name="Thomas Stensitzki" userId="75cafe6b-2f2a-469b-85c4-eec3b9c972ba" providerId="ADAL" clId="{9C6FE5FE-931F-4020-9063-3CD210EE2AD2}" dt="2022-09-10T16:23:32.906" v="2873" actId="164"/>
          <ac:picMkLst>
            <pc:docMk/>
            <pc:sldMk cId="3063824319" sldId="795"/>
            <ac:picMk id="24" creationId="{4442C783-19E5-CB9D-5BB1-13EEF3740C90}"/>
          </ac:picMkLst>
        </pc:picChg>
        <pc:picChg chg="add del mod">
          <ac:chgData name="Thomas Stensitzki" userId="75cafe6b-2f2a-469b-85c4-eec3b9c972ba" providerId="ADAL" clId="{9C6FE5FE-931F-4020-9063-3CD210EE2AD2}" dt="2022-09-10T16:23:04.652" v="2865" actId="478"/>
          <ac:picMkLst>
            <pc:docMk/>
            <pc:sldMk cId="3063824319" sldId="795"/>
            <ac:picMk id="26" creationId="{A3C6F72A-F0C8-30A0-F28F-4B9A5949AAB6}"/>
          </ac:picMkLst>
        </pc:picChg>
        <pc:picChg chg="add del">
          <ac:chgData name="Thomas Stensitzki" userId="75cafe6b-2f2a-469b-85c4-eec3b9c972ba" providerId="ADAL" clId="{9C6FE5FE-931F-4020-9063-3CD210EE2AD2}" dt="2022-09-10T16:23:08.343" v="2867" actId="478"/>
          <ac:picMkLst>
            <pc:docMk/>
            <pc:sldMk cId="3063824319" sldId="795"/>
            <ac:picMk id="28" creationId="{76F1088B-D5F0-5974-DF43-A65ABDCDEDF9}"/>
          </ac:picMkLst>
        </pc:picChg>
        <pc:picChg chg="add mod">
          <ac:chgData name="Thomas Stensitzki" userId="75cafe6b-2f2a-469b-85c4-eec3b9c972ba" providerId="ADAL" clId="{9C6FE5FE-931F-4020-9063-3CD210EE2AD2}" dt="2022-09-10T16:23:32.906" v="2873" actId="164"/>
          <ac:picMkLst>
            <pc:docMk/>
            <pc:sldMk cId="3063824319" sldId="795"/>
            <ac:picMk id="30" creationId="{FEBF80E1-5455-FEB6-53D7-04EF0C2F2854}"/>
          </ac:picMkLst>
        </pc:picChg>
        <pc:picChg chg="add mod ord">
          <ac:chgData name="Thomas Stensitzki" userId="75cafe6b-2f2a-469b-85c4-eec3b9c972ba" providerId="ADAL" clId="{9C6FE5FE-931F-4020-9063-3CD210EE2AD2}" dt="2022-09-10T16:28:37.206" v="2924" actId="1076"/>
          <ac:picMkLst>
            <pc:docMk/>
            <pc:sldMk cId="3063824319" sldId="795"/>
            <ac:picMk id="33" creationId="{1E92AB4C-48A2-A8A9-836C-76B825942FB6}"/>
          </ac:picMkLst>
        </pc:picChg>
        <pc:picChg chg="add mod">
          <ac:chgData name="Thomas Stensitzki" userId="75cafe6b-2f2a-469b-85c4-eec3b9c972ba" providerId="ADAL" clId="{9C6FE5FE-931F-4020-9063-3CD210EE2AD2}" dt="2022-09-10T16:27:04.191" v="2882" actId="1076"/>
          <ac:picMkLst>
            <pc:docMk/>
            <pc:sldMk cId="3063824319" sldId="795"/>
            <ac:picMk id="35" creationId="{E44F824A-E3C3-B43F-1341-62B55B1974EB}"/>
          </ac:picMkLst>
        </pc:picChg>
        <pc:cxnChg chg="add mod">
          <ac:chgData name="Thomas Stensitzki" userId="75cafe6b-2f2a-469b-85c4-eec3b9c972ba" providerId="ADAL" clId="{9C6FE5FE-931F-4020-9063-3CD210EE2AD2}" dt="2022-09-10T16:19:49.617" v="2826" actId="1076"/>
          <ac:cxnSpMkLst>
            <pc:docMk/>
            <pc:sldMk cId="3063824319" sldId="795"/>
            <ac:cxnSpMk id="4" creationId="{6ADB9DC8-9018-BCCD-F002-78494E2C1B64}"/>
          </ac:cxnSpMkLst>
        </pc:cxnChg>
        <pc:cxnChg chg="add mod">
          <ac:chgData name="Thomas Stensitzki" userId="75cafe6b-2f2a-469b-85c4-eec3b9c972ba" providerId="ADAL" clId="{9C6FE5FE-931F-4020-9063-3CD210EE2AD2}" dt="2022-09-10T16:19:54.493" v="2827" actId="1076"/>
          <ac:cxnSpMkLst>
            <pc:docMk/>
            <pc:sldMk cId="3063824319" sldId="795"/>
            <ac:cxnSpMk id="10" creationId="{069B997C-8029-002D-58A9-4B2B302035A7}"/>
          </ac:cxnSpMkLst>
        </pc:cxnChg>
        <pc:cxnChg chg="add mod">
          <ac:chgData name="Thomas Stensitzki" userId="75cafe6b-2f2a-469b-85c4-eec3b9c972ba" providerId="ADAL" clId="{9C6FE5FE-931F-4020-9063-3CD210EE2AD2}" dt="2022-09-10T16:27:25.622" v="2887"/>
          <ac:cxnSpMkLst>
            <pc:docMk/>
            <pc:sldMk cId="3063824319" sldId="795"/>
            <ac:cxnSpMk id="36" creationId="{039149C1-3335-404C-9367-F7A5D13C1045}"/>
          </ac:cxnSpMkLst>
        </pc:cxnChg>
        <pc:cxnChg chg="add mod">
          <ac:chgData name="Thomas Stensitzki" userId="75cafe6b-2f2a-469b-85c4-eec3b9c972ba" providerId="ADAL" clId="{9C6FE5FE-931F-4020-9063-3CD210EE2AD2}" dt="2022-09-10T16:28:24.476" v="2921" actId="14100"/>
          <ac:cxnSpMkLst>
            <pc:docMk/>
            <pc:sldMk cId="3063824319" sldId="795"/>
            <ac:cxnSpMk id="39" creationId="{C2748777-246E-A9AE-2FE9-4A60776E5226}"/>
          </ac:cxnSpMkLst>
        </pc:cxnChg>
      </pc:sldChg>
      <pc:sldChg chg="modSp add del mod">
        <pc:chgData name="Thomas Stensitzki" userId="75cafe6b-2f2a-469b-85c4-eec3b9c972ba" providerId="ADAL" clId="{9C6FE5FE-931F-4020-9063-3CD210EE2AD2}" dt="2022-09-10T16:34:49.078" v="3059" actId="47"/>
        <pc:sldMkLst>
          <pc:docMk/>
          <pc:sldMk cId="3649855032" sldId="796"/>
        </pc:sldMkLst>
        <pc:spChg chg="mod">
          <ac:chgData name="Thomas Stensitzki" userId="75cafe6b-2f2a-469b-85c4-eec3b9c972ba" providerId="ADAL" clId="{9C6FE5FE-931F-4020-9063-3CD210EE2AD2}" dt="2022-09-10T16:34:45.871" v="3058" actId="20577"/>
          <ac:spMkLst>
            <pc:docMk/>
            <pc:sldMk cId="3649855032" sldId="796"/>
            <ac:spMk id="4" creationId="{C8286F9A-03BA-53DB-BFB9-673E208ACB09}"/>
          </ac:spMkLst>
        </pc:spChg>
      </pc:sldChg>
      <pc:sldChg chg="addSp delSp modSp new mod modClrScheme modAnim chgLayout">
        <pc:chgData name="Thomas Stensitzki" userId="75cafe6b-2f2a-469b-85c4-eec3b9c972ba" providerId="ADAL" clId="{9C6FE5FE-931F-4020-9063-3CD210EE2AD2}" dt="2022-09-10T16:41:50.604" v="3833"/>
        <pc:sldMkLst>
          <pc:docMk/>
          <pc:sldMk cId="3790854126" sldId="796"/>
        </pc:sldMkLst>
        <pc:spChg chg="del mod ord">
          <ac:chgData name="Thomas Stensitzki" userId="75cafe6b-2f2a-469b-85c4-eec3b9c972ba" providerId="ADAL" clId="{9C6FE5FE-931F-4020-9063-3CD210EE2AD2}" dt="2022-09-10T16:35:07.242" v="3061" actId="700"/>
          <ac:spMkLst>
            <pc:docMk/>
            <pc:sldMk cId="3790854126" sldId="796"/>
            <ac:spMk id="2" creationId="{890B2D12-6255-C3C0-1A0E-9B12E49A26F9}"/>
          </ac:spMkLst>
        </pc:spChg>
        <pc:spChg chg="del mod ord">
          <ac:chgData name="Thomas Stensitzki" userId="75cafe6b-2f2a-469b-85c4-eec3b9c972ba" providerId="ADAL" clId="{9C6FE5FE-931F-4020-9063-3CD210EE2AD2}" dt="2022-09-10T16:35:07.242" v="3061" actId="700"/>
          <ac:spMkLst>
            <pc:docMk/>
            <pc:sldMk cId="3790854126" sldId="796"/>
            <ac:spMk id="3" creationId="{AE06B926-0BEB-BEB2-9180-D6E01FC489FC}"/>
          </ac:spMkLst>
        </pc:spChg>
        <pc:spChg chg="add mod ord">
          <ac:chgData name="Thomas Stensitzki" userId="75cafe6b-2f2a-469b-85c4-eec3b9c972ba" providerId="ADAL" clId="{9C6FE5FE-931F-4020-9063-3CD210EE2AD2}" dt="2022-09-10T16:35:15.548" v="3086" actId="20577"/>
          <ac:spMkLst>
            <pc:docMk/>
            <pc:sldMk cId="3790854126" sldId="796"/>
            <ac:spMk id="4" creationId="{F62CB6CA-4FC0-A3D9-45B6-475AED94B2D0}"/>
          </ac:spMkLst>
        </pc:spChg>
        <pc:spChg chg="add mod ord">
          <ac:chgData name="Thomas Stensitzki" userId="75cafe6b-2f2a-469b-85c4-eec3b9c972ba" providerId="ADAL" clId="{9C6FE5FE-931F-4020-9063-3CD210EE2AD2}" dt="2022-09-10T16:38:30.567" v="3562" actId="20577"/>
          <ac:spMkLst>
            <pc:docMk/>
            <pc:sldMk cId="3790854126" sldId="796"/>
            <ac:spMk id="5" creationId="{701F0053-C3BE-17D5-750C-68E7A3093C06}"/>
          </ac:spMkLst>
        </pc:spChg>
      </pc:sldChg>
      <pc:sldChg chg="modSp add mod ord">
        <pc:chgData name="Thomas Stensitzki" userId="75cafe6b-2f2a-469b-85c4-eec3b9c972ba" providerId="ADAL" clId="{9C6FE5FE-931F-4020-9063-3CD210EE2AD2}" dt="2022-09-10T16:40:47.969" v="3803" actId="20577"/>
        <pc:sldMkLst>
          <pc:docMk/>
          <pc:sldMk cId="2916267245" sldId="797"/>
        </pc:sldMkLst>
        <pc:spChg chg="mod">
          <ac:chgData name="Thomas Stensitzki" userId="75cafe6b-2f2a-469b-85c4-eec3b9c972ba" providerId="ADAL" clId="{9C6FE5FE-931F-4020-9063-3CD210EE2AD2}" dt="2022-09-10T16:40:47.969" v="3803" actId="20577"/>
          <ac:spMkLst>
            <pc:docMk/>
            <pc:sldMk cId="2916267245" sldId="797"/>
            <ac:spMk id="4" creationId="{C8286F9A-03BA-53DB-BFB9-673E208ACB09}"/>
          </ac:spMkLst>
        </pc:spChg>
        <pc:spChg chg="mod">
          <ac:chgData name="Thomas Stensitzki" userId="75cafe6b-2f2a-469b-85c4-eec3b9c972ba" providerId="ADAL" clId="{9C6FE5FE-931F-4020-9063-3CD210EE2AD2}" dt="2022-09-10T16:40:34.711" v="3783" actId="20577"/>
          <ac:spMkLst>
            <pc:docMk/>
            <pc:sldMk cId="2916267245" sldId="797"/>
            <ac:spMk id="5" creationId="{C3EE38D4-0E11-743E-1807-62DCB7E0B6E7}"/>
          </ac:spMkLst>
        </pc:spChg>
      </pc:sldChg>
      <pc:sldChg chg="modSp add mod">
        <pc:chgData name="Thomas Stensitzki" userId="75cafe6b-2f2a-469b-85c4-eec3b9c972ba" providerId="ADAL" clId="{9C6FE5FE-931F-4020-9063-3CD210EE2AD2}" dt="2022-09-10T16:39:50.016" v="3744" actId="20577"/>
        <pc:sldMkLst>
          <pc:docMk/>
          <pc:sldMk cId="2035090902" sldId="798"/>
        </pc:sldMkLst>
        <pc:spChg chg="mod">
          <ac:chgData name="Thomas Stensitzki" userId="75cafe6b-2f2a-469b-85c4-eec3b9c972ba" providerId="ADAL" clId="{9C6FE5FE-931F-4020-9063-3CD210EE2AD2}" dt="2022-09-10T16:39:50.016" v="3744" actId="20577"/>
          <ac:spMkLst>
            <pc:docMk/>
            <pc:sldMk cId="2035090902" sldId="798"/>
            <ac:spMk id="5" creationId="{C3EE38D4-0E11-743E-1807-62DCB7E0B6E7}"/>
          </ac:spMkLst>
        </pc:spChg>
      </pc:sldChg>
      <pc:sldChg chg="addSp delSp modSp new mod modClrScheme chgLayout">
        <pc:chgData name="Thomas Stensitzki" userId="75cafe6b-2f2a-469b-85c4-eec3b9c972ba" providerId="ADAL" clId="{9C6FE5FE-931F-4020-9063-3CD210EE2AD2}" dt="2022-09-10T16:42:29.547" v="3899" actId="20577"/>
        <pc:sldMkLst>
          <pc:docMk/>
          <pc:sldMk cId="3112651547" sldId="799"/>
        </pc:sldMkLst>
        <pc:spChg chg="del mod ord">
          <ac:chgData name="Thomas Stensitzki" userId="75cafe6b-2f2a-469b-85c4-eec3b9c972ba" providerId="ADAL" clId="{9C6FE5FE-931F-4020-9063-3CD210EE2AD2}" dt="2022-09-10T16:42:11.228" v="3835" actId="700"/>
          <ac:spMkLst>
            <pc:docMk/>
            <pc:sldMk cId="3112651547" sldId="799"/>
            <ac:spMk id="2" creationId="{07EE07D9-4CBA-2580-C0E7-8FEB59E73D2C}"/>
          </ac:spMkLst>
        </pc:spChg>
        <pc:spChg chg="del mod ord">
          <ac:chgData name="Thomas Stensitzki" userId="75cafe6b-2f2a-469b-85c4-eec3b9c972ba" providerId="ADAL" clId="{9C6FE5FE-931F-4020-9063-3CD210EE2AD2}" dt="2022-09-10T16:42:11.228" v="3835" actId="700"/>
          <ac:spMkLst>
            <pc:docMk/>
            <pc:sldMk cId="3112651547" sldId="799"/>
            <ac:spMk id="3" creationId="{E8EDD5C4-F9A4-AACC-BC56-CB59E59E4CEF}"/>
          </ac:spMkLst>
        </pc:spChg>
        <pc:spChg chg="del">
          <ac:chgData name="Thomas Stensitzki" userId="75cafe6b-2f2a-469b-85c4-eec3b9c972ba" providerId="ADAL" clId="{9C6FE5FE-931F-4020-9063-3CD210EE2AD2}" dt="2022-09-10T16:42:11.228" v="3835" actId="700"/>
          <ac:spMkLst>
            <pc:docMk/>
            <pc:sldMk cId="3112651547" sldId="799"/>
            <ac:spMk id="4" creationId="{DF4D44EF-A14E-9266-8A48-55968455368C}"/>
          </ac:spMkLst>
        </pc:spChg>
        <pc:spChg chg="add mod ord">
          <ac:chgData name="Thomas Stensitzki" userId="75cafe6b-2f2a-469b-85c4-eec3b9c972ba" providerId="ADAL" clId="{9C6FE5FE-931F-4020-9063-3CD210EE2AD2}" dt="2022-09-10T16:42:29.547" v="3899" actId="20577"/>
          <ac:spMkLst>
            <pc:docMk/>
            <pc:sldMk cId="3112651547" sldId="799"/>
            <ac:spMk id="5" creationId="{73164B6E-78ED-8A49-0EE0-CC8E228545EA}"/>
          </ac:spMkLst>
        </pc:spChg>
        <pc:spChg chg="add mod ord">
          <ac:chgData name="Thomas Stensitzki" userId="75cafe6b-2f2a-469b-85c4-eec3b9c972ba" providerId="ADAL" clId="{9C6FE5FE-931F-4020-9063-3CD210EE2AD2}" dt="2022-09-10T16:42:11.228" v="3835" actId="700"/>
          <ac:spMkLst>
            <pc:docMk/>
            <pc:sldMk cId="3112651547" sldId="799"/>
            <ac:spMk id="6" creationId="{DFDFE7C9-522E-E445-ED84-35350F3E53B0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3BEDEB7-EC7C-4C28-BEC3-761EB3263076}" type="doc">
      <dgm:prSet loTypeId="urn:microsoft.com/office/officeart/2005/8/layout/hierarchy4" loCatId="hierarchy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909EC1A7-E70E-4AF7-B775-ED9F25BA2130}">
      <dgm:prSet phldrT="[Text]"/>
      <dgm:spPr>
        <a:xfrm>
          <a:off x="788" y="2014"/>
          <a:ext cx="6866458" cy="1255259"/>
        </a:xfrm>
        <a:prstGeom prst="roundRect">
          <a:avLst>
            <a:gd name="adj" fmla="val 10000"/>
          </a:avLst>
        </a:prstGeom>
        <a:solidFill>
          <a:schemeClr val="accent1"/>
        </a:solidFill>
        <a:ln w="10795" cap="flat" cmpd="sng" algn="ctr">
          <a:solidFill>
            <a:schemeClr val="accent3">
              <a:lumMod val="75000"/>
            </a:scheme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de-DE" noProof="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rPr>
            <a:t>Exchange Hybrid </a:t>
          </a:r>
          <a:r>
            <a:rPr lang="en-US" noProof="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rPr>
            <a:t>Mode</a:t>
          </a:r>
        </a:p>
      </dgm:t>
    </dgm:pt>
    <dgm:pt modelId="{A5A064E1-9099-4EC1-98A4-B33A791D99AE}" type="parTrans" cxnId="{A9471A86-0FC4-4CEF-AF84-27E0860982B7}">
      <dgm:prSet/>
      <dgm:spPr/>
      <dgm:t>
        <a:bodyPr/>
        <a:lstStyle/>
        <a:p>
          <a:endParaRPr lang="de-DE" noProof="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F52DA7F4-2F46-4E36-B5A7-B14C3D3223E0}" type="sibTrans" cxnId="{A9471A86-0FC4-4CEF-AF84-27E0860982B7}">
      <dgm:prSet/>
      <dgm:spPr/>
      <dgm:t>
        <a:bodyPr/>
        <a:lstStyle/>
        <a:p>
          <a:endParaRPr lang="de-DE" noProof="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774AAAC8-6C29-4BCB-9953-AC0391FA695A}">
      <dgm:prSet phldrT="[Text]"/>
      <dgm:spPr>
        <a:xfrm>
          <a:off x="788" y="1377651"/>
          <a:ext cx="4064521" cy="1255259"/>
        </a:xfrm>
        <a:prstGeom prst="roundRect">
          <a:avLst>
            <a:gd name="adj" fmla="val 10000"/>
          </a:avLst>
        </a:prstGeom>
        <a:solidFill>
          <a:schemeClr val="accent3">
            <a:lumMod val="75000"/>
          </a:schemeClr>
        </a:solidFill>
        <a:ln w="10795" cap="flat" cmpd="sng" algn="ctr">
          <a:solidFill>
            <a:schemeClr val="tx2"/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de-DE" noProof="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rPr>
            <a:t>Classic</a:t>
          </a:r>
        </a:p>
      </dgm:t>
    </dgm:pt>
    <dgm:pt modelId="{0BEC4599-7521-4307-82D0-08B9B6143264}" type="parTrans" cxnId="{65AEA358-8332-49CD-9BA5-B7CBF227EF26}">
      <dgm:prSet/>
      <dgm:spPr/>
      <dgm:t>
        <a:bodyPr/>
        <a:lstStyle/>
        <a:p>
          <a:endParaRPr lang="de-DE" noProof="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BDCD2278-24CB-407B-806B-DD6E500EA7DC}" type="sibTrans" cxnId="{65AEA358-8332-49CD-9BA5-B7CBF227EF26}">
      <dgm:prSet/>
      <dgm:spPr/>
      <dgm:t>
        <a:bodyPr/>
        <a:lstStyle/>
        <a:p>
          <a:endParaRPr lang="de-DE" noProof="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33B116B8-55A5-47D3-8A70-476C228B2756}">
      <dgm:prSet phldrT="[Text]"/>
      <dgm:spPr>
        <a:xfrm>
          <a:off x="788" y="2753289"/>
          <a:ext cx="1317938" cy="1255259"/>
        </a:xfrm>
        <a:prstGeom prst="roundRect">
          <a:avLst>
            <a:gd name="adj" fmla="val 10000"/>
          </a:avLst>
        </a:prstGeom>
        <a:solidFill>
          <a:schemeClr val="accent4"/>
        </a:solidFill>
        <a:ln w="10795" cap="flat" cmpd="sng" algn="ctr">
          <a:solidFill>
            <a:schemeClr val="accent1"/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de-DE" noProof="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rPr>
            <a:t>Express</a:t>
          </a:r>
        </a:p>
      </dgm:t>
    </dgm:pt>
    <dgm:pt modelId="{AE057B51-2AF0-4FF6-8033-F3BB81FF81E0}" type="parTrans" cxnId="{96F7BBF7-C924-48CE-A65C-485010A29B43}">
      <dgm:prSet/>
      <dgm:spPr/>
      <dgm:t>
        <a:bodyPr/>
        <a:lstStyle/>
        <a:p>
          <a:endParaRPr lang="de-DE" noProof="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889A0917-F760-4C8F-80B7-A84679CFB0D3}" type="sibTrans" cxnId="{96F7BBF7-C924-48CE-A65C-485010A29B43}">
      <dgm:prSet/>
      <dgm:spPr/>
      <dgm:t>
        <a:bodyPr/>
        <a:lstStyle/>
        <a:p>
          <a:endParaRPr lang="de-DE" noProof="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366973C5-4346-4EFC-85BF-54D979673066}">
      <dgm:prSet phldrT="[Text]"/>
      <dgm:spPr>
        <a:xfrm>
          <a:off x="1374079" y="2753289"/>
          <a:ext cx="1317938" cy="1255259"/>
        </a:xfrm>
        <a:prstGeom prst="roundRect">
          <a:avLst>
            <a:gd name="adj" fmla="val 10000"/>
          </a:avLst>
        </a:prstGeom>
        <a:solidFill>
          <a:schemeClr val="accent2"/>
        </a:solidFill>
        <a:ln w="10795" cap="flat" cmpd="sng" algn="ctr">
          <a:solidFill>
            <a:schemeClr val="accent2"/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de-DE" noProof="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rPr>
            <a:t>Minimal</a:t>
          </a:r>
        </a:p>
      </dgm:t>
    </dgm:pt>
    <dgm:pt modelId="{87B6C24D-EADB-4EED-B259-540A42AAA677}" type="parTrans" cxnId="{0A82AF2B-74AE-4412-82DE-B4568B20D232}">
      <dgm:prSet/>
      <dgm:spPr/>
      <dgm:t>
        <a:bodyPr/>
        <a:lstStyle/>
        <a:p>
          <a:endParaRPr lang="de-DE" noProof="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1ACC7286-DDA1-4A24-8B45-EF0E11523D5E}" type="sibTrans" cxnId="{0A82AF2B-74AE-4412-82DE-B4568B20D232}">
      <dgm:prSet/>
      <dgm:spPr/>
      <dgm:t>
        <a:bodyPr/>
        <a:lstStyle/>
        <a:p>
          <a:endParaRPr lang="de-DE" noProof="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1CB1CDA0-17CA-4D2B-9014-0141F610C0DE}">
      <dgm:prSet phldrT="[Text]"/>
      <dgm:spPr>
        <a:xfrm>
          <a:off x="4176016" y="1377651"/>
          <a:ext cx="2691230" cy="1255259"/>
        </a:xfrm>
        <a:prstGeom prst="roundRect">
          <a:avLst>
            <a:gd name="adj" fmla="val 10000"/>
          </a:avLst>
        </a:prstGeom>
        <a:solidFill>
          <a:schemeClr val="accent5">
            <a:lumMod val="75000"/>
          </a:schemeClr>
        </a:solidFill>
        <a:ln w="10795" cap="flat" cmpd="sng" algn="ctr">
          <a:solidFill>
            <a:schemeClr val="accent5">
              <a:lumMod val="50000"/>
            </a:scheme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de-DE" noProof="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rPr>
            <a:t>Modern</a:t>
          </a:r>
        </a:p>
      </dgm:t>
    </dgm:pt>
    <dgm:pt modelId="{C4BCBE3E-B0F7-44F8-BA33-2A2B773787A2}" type="parTrans" cxnId="{FBC7ECCB-0F6E-41EC-BC33-3E2E50D4F181}">
      <dgm:prSet>
        <dgm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dgm:style>
      </dgm:prSet>
      <dgm:spPr/>
      <dgm:t>
        <a:bodyPr/>
        <a:lstStyle/>
        <a:p>
          <a:endParaRPr lang="de-DE" noProof="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A50A0064-C283-4B76-938E-814A9F2340CD}" type="sibTrans" cxnId="{FBC7ECCB-0F6E-41EC-BC33-3E2E50D4F181}">
      <dgm:prSet/>
      <dgm:spPr/>
      <dgm:t>
        <a:bodyPr/>
        <a:lstStyle/>
        <a:p>
          <a:endParaRPr lang="de-DE" noProof="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76EEF8BE-2B4E-42E6-A510-98CE9F1D0DDE}">
      <dgm:prSet phldrT="[Text]"/>
      <dgm:spPr>
        <a:xfrm>
          <a:off x="4176016" y="2753289"/>
          <a:ext cx="1317938" cy="1255259"/>
        </a:xfrm>
        <a:prstGeom prst="roundRect">
          <a:avLst>
            <a:gd name="adj" fmla="val 10000"/>
          </a:avLst>
        </a:prstGeom>
        <a:solidFill>
          <a:schemeClr val="accent2"/>
        </a:solidFill>
        <a:ln w="10795" cap="flat" cmpd="sng" algn="ctr">
          <a:solidFill>
            <a:schemeClr val="accent5"/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de-DE" noProof="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rPr>
            <a:t>Minimal</a:t>
          </a:r>
        </a:p>
      </dgm:t>
    </dgm:pt>
    <dgm:pt modelId="{F36C3581-4BD5-4AB5-AFBC-A3E76A176734}" type="parTrans" cxnId="{8FD2AA75-189A-4654-B651-C7C7650EC946}">
      <dgm:prSet>
        <dgm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dgm:style>
      </dgm:prSet>
      <dgm:spPr/>
      <dgm:t>
        <a:bodyPr/>
        <a:lstStyle/>
        <a:p>
          <a:endParaRPr lang="de-DE" noProof="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187EB49A-825D-4BCD-8B38-C6CAA9D31653}" type="sibTrans" cxnId="{8FD2AA75-189A-4654-B651-C7C7650EC946}">
      <dgm:prSet/>
      <dgm:spPr/>
      <dgm:t>
        <a:bodyPr/>
        <a:lstStyle/>
        <a:p>
          <a:endParaRPr lang="de-DE" noProof="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6C520CDA-5A79-49D3-ADF9-9715318759AE}">
      <dgm:prSet/>
      <dgm:spPr>
        <a:xfrm>
          <a:off x="2747371" y="2753289"/>
          <a:ext cx="1317938" cy="1255259"/>
        </a:xfrm>
        <a:prstGeom prst="roundRect">
          <a:avLst>
            <a:gd name="adj" fmla="val 10000"/>
          </a:avLst>
        </a:prstGeom>
        <a:solidFill>
          <a:schemeClr val="tx2"/>
        </a:solidFill>
        <a:ln w="10795" cap="flat" cmpd="sng" algn="ctr">
          <a:solidFill>
            <a:schemeClr val="tx2"/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en-US" noProof="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rPr>
            <a:t>Full</a:t>
          </a:r>
        </a:p>
      </dgm:t>
    </dgm:pt>
    <dgm:pt modelId="{2EA15D80-7031-4ABA-9B30-28849E6D7DCE}" type="parTrans" cxnId="{362575A5-C019-4E0B-A38C-E2CB1A395C54}">
      <dgm:prSet/>
      <dgm:spPr/>
      <dgm:t>
        <a:bodyPr/>
        <a:lstStyle/>
        <a:p>
          <a:endParaRPr lang="de-DE" noProof="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5302AA84-36C5-4CD9-908C-3C8318AD793F}" type="sibTrans" cxnId="{362575A5-C019-4E0B-A38C-E2CB1A395C54}">
      <dgm:prSet/>
      <dgm:spPr/>
      <dgm:t>
        <a:bodyPr/>
        <a:lstStyle/>
        <a:p>
          <a:endParaRPr lang="de-DE" noProof="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506676CB-BE19-4FD3-B74D-F2B0F6D3D435}">
      <dgm:prSet/>
      <dgm:spPr>
        <a:xfrm>
          <a:off x="5549308" y="2753289"/>
          <a:ext cx="1317938" cy="1255259"/>
        </a:xfrm>
        <a:prstGeom prst="roundRect">
          <a:avLst>
            <a:gd name="adj" fmla="val 10000"/>
          </a:avLst>
        </a:prstGeom>
        <a:solidFill>
          <a:schemeClr val="tx2"/>
        </a:solidFill>
        <a:ln w="10795" cap="flat" cmpd="sng" algn="ctr">
          <a:solidFill>
            <a:schemeClr val="accent5">
              <a:lumMod val="50000"/>
            </a:scheme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en-US" noProof="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rPr>
            <a:t>Full</a:t>
          </a:r>
        </a:p>
      </dgm:t>
    </dgm:pt>
    <dgm:pt modelId="{5EC0E3E1-241A-4C49-8465-081B974F6F8D}" type="parTrans" cxnId="{53CEC19B-C133-4768-8760-7AC1A160825C}">
      <dgm:prSet>
        <dgm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dgm:style>
      </dgm:prSet>
      <dgm:spPr/>
      <dgm:t>
        <a:bodyPr/>
        <a:lstStyle/>
        <a:p>
          <a:endParaRPr lang="de-DE" noProof="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740E429F-183A-400A-9AD4-600B52C5D4F1}" type="sibTrans" cxnId="{53CEC19B-C133-4768-8760-7AC1A160825C}">
      <dgm:prSet/>
      <dgm:spPr/>
      <dgm:t>
        <a:bodyPr/>
        <a:lstStyle/>
        <a:p>
          <a:endParaRPr lang="de-DE" noProof="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2A815BC8-9718-4913-8BA4-D8C3A4049227}" type="pres">
      <dgm:prSet presAssocID="{F3BEDEB7-EC7C-4C28-BEC3-761EB3263076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B8C83DA-A3C4-4F9D-925A-832B0594AC75}" type="pres">
      <dgm:prSet presAssocID="{909EC1A7-E70E-4AF7-B775-ED9F25BA2130}" presName="vertOne" presStyleCnt="0"/>
      <dgm:spPr/>
    </dgm:pt>
    <dgm:pt modelId="{73855E22-3BA3-4FF4-B9CD-6D066C64E994}" type="pres">
      <dgm:prSet presAssocID="{909EC1A7-E70E-4AF7-B775-ED9F25BA2130}" presName="txOne" presStyleLbl="node0" presStyleIdx="0" presStyleCnt="1">
        <dgm:presLayoutVars>
          <dgm:chPref val="3"/>
        </dgm:presLayoutVars>
      </dgm:prSet>
      <dgm:spPr/>
    </dgm:pt>
    <dgm:pt modelId="{8B081B75-1E7A-4B65-BDDF-4F0719253250}" type="pres">
      <dgm:prSet presAssocID="{909EC1A7-E70E-4AF7-B775-ED9F25BA2130}" presName="parTransOne" presStyleCnt="0"/>
      <dgm:spPr/>
    </dgm:pt>
    <dgm:pt modelId="{C6329F23-2E48-47FC-95AE-046D44B96B90}" type="pres">
      <dgm:prSet presAssocID="{909EC1A7-E70E-4AF7-B775-ED9F25BA2130}" presName="horzOne" presStyleCnt="0"/>
      <dgm:spPr/>
    </dgm:pt>
    <dgm:pt modelId="{016E9624-4A97-4269-BFC8-40A77A58F44A}" type="pres">
      <dgm:prSet presAssocID="{774AAAC8-6C29-4BCB-9953-AC0391FA695A}" presName="vertTwo" presStyleCnt="0"/>
      <dgm:spPr/>
    </dgm:pt>
    <dgm:pt modelId="{19AE3AC6-CFD4-4D0D-B993-97041046FD71}" type="pres">
      <dgm:prSet presAssocID="{774AAAC8-6C29-4BCB-9953-AC0391FA695A}" presName="txTwo" presStyleLbl="node2" presStyleIdx="0" presStyleCnt="2">
        <dgm:presLayoutVars>
          <dgm:chPref val="3"/>
        </dgm:presLayoutVars>
      </dgm:prSet>
      <dgm:spPr/>
    </dgm:pt>
    <dgm:pt modelId="{75541214-04DA-489F-A488-9FAA12ED8863}" type="pres">
      <dgm:prSet presAssocID="{774AAAC8-6C29-4BCB-9953-AC0391FA695A}" presName="parTransTwo" presStyleCnt="0"/>
      <dgm:spPr/>
    </dgm:pt>
    <dgm:pt modelId="{2EF15D4A-A37F-4BA1-BB7B-2700017C3371}" type="pres">
      <dgm:prSet presAssocID="{774AAAC8-6C29-4BCB-9953-AC0391FA695A}" presName="horzTwo" presStyleCnt="0"/>
      <dgm:spPr/>
    </dgm:pt>
    <dgm:pt modelId="{14BEF7FF-CFEE-4F47-B7CA-4A626A24A6EE}" type="pres">
      <dgm:prSet presAssocID="{33B116B8-55A5-47D3-8A70-476C228B2756}" presName="vertThree" presStyleCnt="0"/>
      <dgm:spPr/>
    </dgm:pt>
    <dgm:pt modelId="{AD9270F0-250C-4D1C-B74F-FE21A17D606A}" type="pres">
      <dgm:prSet presAssocID="{33B116B8-55A5-47D3-8A70-476C228B2756}" presName="txThree" presStyleLbl="node3" presStyleIdx="0" presStyleCnt="5">
        <dgm:presLayoutVars>
          <dgm:chPref val="3"/>
        </dgm:presLayoutVars>
      </dgm:prSet>
      <dgm:spPr/>
    </dgm:pt>
    <dgm:pt modelId="{279E86C8-1B3A-4019-97E4-260115A0A3C9}" type="pres">
      <dgm:prSet presAssocID="{33B116B8-55A5-47D3-8A70-476C228B2756}" presName="horzThree" presStyleCnt="0"/>
      <dgm:spPr/>
    </dgm:pt>
    <dgm:pt modelId="{F5EF0042-170D-4CB7-B20C-BCAA64ED0545}" type="pres">
      <dgm:prSet presAssocID="{889A0917-F760-4C8F-80B7-A84679CFB0D3}" presName="sibSpaceThree" presStyleCnt="0"/>
      <dgm:spPr/>
    </dgm:pt>
    <dgm:pt modelId="{C031761C-AA78-40EE-AF53-40BDBCBA33A4}" type="pres">
      <dgm:prSet presAssocID="{366973C5-4346-4EFC-85BF-54D979673066}" presName="vertThree" presStyleCnt="0"/>
      <dgm:spPr/>
    </dgm:pt>
    <dgm:pt modelId="{7AAF8860-9FF9-4666-B5F1-33F323E6AE9C}" type="pres">
      <dgm:prSet presAssocID="{366973C5-4346-4EFC-85BF-54D979673066}" presName="txThree" presStyleLbl="node3" presStyleIdx="1" presStyleCnt="5">
        <dgm:presLayoutVars>
          <dgm:chPref val="3"/>
        </dgm:presLayoutVars>
      </dgm:prSet>
      <dgm:spPr/>
    </dgm:pt>
    <dgm:pt modelId="{46746FAA-7BA2-49E1-A330-4BA2B7845CF5}" type="pres">
      <dgm:prSet presAssocID="{366973C5-4346-4EFC-85BF-54D979673066}" presName="horzThree" presStyleCnt="0"/>
      <dgm:spPr/>
    </dgm:pt>
    <dgm:pt modelId="{E4C138E0-EC6B-48A3-932B-380E4CDB3824}" type="pres">
      <dgm:prSet presAssocID="{1ACC7286-DDA1-4A24-8B45-EF0E11523D5E}" presName="sibSpaceThree" presStyleCnt="0"/>
      <dgm:spPr/>
    </dgm:pt>
    <dgm:pt modelId="{84FDE85C-C5F8-42AD-8A0D-0D90A18CEA3D}" type="pres">
      <dgm:prSet presAssocID="{6C520CDA-5A79-49D3-ADF9-9715318759AE}" presName="vertThree" presStyleCnt="0"/>
      <dgm:spPr/>
    </dgm:pt>
    <dgm:pt modelId="{09D2681C-7BD9-42AD-AAF1-FC73A69819CF}" type="pres">
      <dgm:prSet presAssocID="{6C520CDA-5A79-49D3-ADF9-9715318759AE}" presName="txThree" presStyleLbl="node3" presStyleIdx="2" presStyleCnt="5">
        <dgm:presLayoutVars>
          <dgm:chPref val="3"/>
        </dgm:presLayoutVars>
      </dgm:prSet>
      <dgm:spPr/>
    </dgm:pt>
    <dgm:pt modelId="{C1725656-6427-4E1E-BCBA-661FC3DCB350}" type="pres">
      <dgm:prSet presAssocID="{6C520CDA-5A79-49D3-ADF9-9715318759AE}" presName="horzThree" presStyleCnt="0"/>
      <dgm:spPr/>
    </dgm:pt>
    <dgm:pt modelId="{056F0FF8-1B7C-4828-B266-31204F291917}" type="pres">
      <dgm:prSet presAssocID="{BDCD2278-24CB-407B-806B-DD6E500EA7DC}" presName="sibSpaceTwo" presStyleCnt="0"/>
      <dgm:spPr/>
    </dgm:pt>
    <dgm:pt modelId="{8C084D30-F644-43E9-A520-4C606DCE7FDA}" type="pres">
      <dgm:prSet presAssocID="{1CB1CDA0-17CA-4D2B-9014-0141F610C0DE}" presName="vertTwo" presStyleCnt="0"/>
      <dgm:spPr/>
    </dgm:pt>
    <dgm:pt modelId="{72CA3688-8F96-47CC-AF18-C7375175F335}" type="pres">
      <dgm:prSet presAssocID="{1CB1CDA0-17CA-4D2B-9014-0141F610C0DE}" presName="txTwo" presStyleLbl="node2" presStyleIdx="1" presStyleCnt="2">
        <dgm:presLayoutVars>
          <dgm:chPref val="3"/>
        </dgm:presLayoutVars>
      </dgm:prSet>
      <dgm:spPr/>
    </dgm:pt>
    <dgm:pt modelId="{B1FDFAD2-B9F9-4260-8863-C119EACAB21A}" type="pres">
      <dgm:prSet presAssocID="{1CB1CDA0-17CA-4D2B-9014-0141F610C0DE}" presName="parTransTwo" presStyleCnt="0"/>
      <dgm:spPr/>
    </dgm:pt>
    <dgm:pt modelId="{EAD2D6FC-ECC3-4716-8879-C2B6122B896A}" type="pres">
      <dgm:prSet presAssocID="{1CB1CDA0-17CA-4D2B-9014-0141F610C0DE}" presName="horzTwo" presStyleCnt="0"/>
      <dgm:spPr/>
    </dgm:pt>
    <dgm:pt modelId="{490370B4-A762-4D6B-AE91-0295835909A4}" type="pres">
      <dgm:prSet presAssocID="{76EEF8BE-2B4E-42E6-A510-98CE9F1D0DDE}" presName="vertThree" presStyleCnt="0"/>
      <dgm:spPr/>
    </dgm:pt>
    <dgm:pt modelId="{7AED02CF-A26A-4B56-8EE6-42BE9B33775C}" type="pres">
      <dgm:prSet presAssocID="{76EEF8BE-2B4E-42E6-A510-98CE9F1D0DDE}" presName="txThree" presStyleLbl="node3" presStyleIdx="3" presStyleCnt="5">
        <dgm:presLayoutVars>
          <dgm:chPref val="3"/>
        </dgm:presLayoutVars>
      </dgm:prSet>
      <dgm:spPr/>
    </dgm:pt>
    <dgm:pt modelId="{03DC4C17-58D6-4589-B143-6C993CD9D16F}" type="pres">
      <dgm:prSet presAssocID="{76EEF8BE-2B4E-42E6-A510-98CE9F1D0DDE}" presName="horzThree" presStyleCnt="0"/>
      <dgm:spPr/>
    </dgm:pt>
    <dgm:pt modelId="{5FE07656-1D0E-4AF2-832C-353A6644B3E2}" type="pres">
      <dgm:prSet presAssocID="{187EB49A-825D-4BCD-8B38-C6CAA9D31653}" presName="sibSpaceThree" presStyleCnt="0"/>
      <dgm:spPr/>
    </dgm:pt>
    <dgm:pt modelId="{3ABE4974-FD76-4B36-82A8-AD30CE74860F}" type="pres">
      <dgm:prSet presAssocID="{506676CB-BE19-4FD3-B74D-F2B0F6D3D435}" presName="vertThree" presStyleCnt="0"/>
      <dgm:spPr/>
    </dgm:pt>
    <dgm:pt modelId="{5BA10024-C3DD-4F1F-93E0-32A65B9B32C2}" type="pres">
      <dgm:prSet presAssocID="{506676CB-BE19-4FD3-B74D-F2B0F6D3D435}" presName="txThree" presStyleLbl="node3" presStyleIdx="4" presStyleCnt="5">
        <dgm:presLayoutVars>
          <dgm:chPref val="3"/>
        </dgm:presLayoutVars>
      </dgm:prSet>
      <dgm:spPr/>
    </dgm:pt>
    <dgm:pt modelId="{A88F5215-2FEC-4B98-8C8A-94962C7A90F3}" type="pres">
      <dgm:prSet presAssocID="{506676CB-BE19-4FD3-B74D-F2B0F6D3D435}" presName="horzThree" presStyleCnt="0"/>
      <dgm:spPr/>
    </dgm:pt>
  </dgm:ptLst>
  <dgm:cxnLst>
    <dgm:cxn modelId="{1189E80C-F1C7-4FA5-A923-12A08E1EDBF2}" type="presOf" srcId="{33B116B8-55A5-47D3-8A70-476C228B2756}" destId="{AD9270F0-250C-4D1C-B74F-FE21A17D606A}" srcOrd="0" destOrd="0" presId="urn:microsoft.com/office/officeart/2005/8/layout/hierarchy4"/>
    <dgm:cxn modelId="{3368A10E-DE9C-4253-A611-AC6467EBB4B2}" type="presOf" srcId="{6C520CDA-5A79-49D3-ADF9-9715318759AE}" destId="{09D2681C-7BD9-42AD-AAF1-FC73A69819CF}" srcOrd="0" destOrd="0" presId="urn:microsoft.com/office/officeart/2005/8/layout/hierarchy4"/>
    <dgm:cxn modelId="{C30C8215-1EE7-4AE3-AE13-F6AB6254A533}" type="presOf" srcId="{506676CB-BE19-4FD3-B74D-F2B0F6D3D435}" destId="{5BA10024-C3DD-4F1F-93E0-32A65B9B32C2}" srcOrd="0" destOrd="0" presId="urn:microsoft.com/office/officeart/2005/8/layout/hierarchy4"/>
    <dgm:cxn modelId="{0A82AF2B-74AE-4412-82DE-B4568B20D232}" srcId="{774AAAC8-6C29-4BCB-9953-AC0391FA695A}" destId="{366973C5-4346-4EFC-85BF-54D979673066}" srcOrd="1" destOrd="0" parTransId="{87B6C24D-EADB-4EED-B259-540A42AAA677}" sibTransId="{1ACC7286-DDA1-4A24-8B45-EF0E11523D5E}"/>
    <dgm:cxn modelId="{E6BDD144-BFD4-40CC-834D-6F695BEF5FCD}" type="presOf" srcId="{366973C5-4346-4EFC-85BF-54D979673066}" destId="{7AAF8860-9FF9-4666-B5F1-33F323E6AE9C}" srcOrd="0" destOrd="0" presId="urn:microsoft.com/office/officeart/2005/8/layout/hierarchy4"/>
    <dgm:cxn modelId="{AB767D45-8411-4073-80DB-A2FF8DFCBD03}" type="presOf" srcId="{1CB1CDA0-17CA-4D2B-9014-0141F610C0DE}" destId="{72CA3688-8F96-47CC-AF18-C7375175F335}" srcOrd="0" destOrd="0" presId="urn:microsoft.com/office/officeart/2005/8/layout/hierarchy4"/>
    <dgm:cxn modelId="{3BF3AE51-F4D0-4254-AB07-953D99AD583C}" type="presOf" srcId="{909EC1A7-E70E-4AF7-B775-ED9F25BA2130}" destId="{73855E22-3BA3-4FF4-B9CD-6D066C64E994}" srcOrd="0" destOrd="0" presId="urn:microsoft.com/office/officeart/2005/8/layout/hierarchy4"/>
    <dgm:cxn modelId="{8FD2AA75-189A-4654-B651-C7C7650EC946}" srcId="{1CB1CDA0-17CA-4D2B-9014-0141F610C0DE}" destId="{76EEF8BE-2B4E-42E6-A510-98CE9F1D0DDE}" srcOrd="0" destOrd="0" parTransId="{F36C3581-4BD5-4AB5-AFBC-A3E76A176734}" sibTransId="{187EB49A-825D-4BCD-8B38-C6CAA9D31653}"/>
    <dgm:cxn modelId="{65AEA358-8332-49CD-9BA5-B7CBF227EF26}" srcId="{909EC1A7-E70E-4AF7-B775-ED9F25BA2130}" destId="{774AAAC8-6C29-4BCB-9953-AC0391FA695A}" srcOrd="0" destOrd="0" parTransId="{0BEC4599-7521-4307-82D0-08B9B6143264}" sibTransId="{BDCD2278-24CB-407B-806B-DD6E500EA7DC}"/>
    <dgm:cxn modelId="{A9471A86-0FC4-4CEF-AF84-27E0860982B7}" srcId="{F3BEDEB7-EC7C-4C28-BEC3-761EB3263076}" destId="{909EC1A7-E70E-4AF7-B775-ED9F25BA2130}" srcOrd="0" destOrd="0" parTransId="{A5A064E1-9099-4EC1-98A4-B33A791D99AE}" sibTransId="{F52DA7F4-2F46-4E36-B5A7-B14C3D3223E0}"/>
    <dgm:cxn modelId="{53CEC19B-C133-4768-8760-7AC1A160825C}" srcId="{1CB1CDA0-17CA-4D2B-9014-0141F610C0DE}" destId="{506676CB-BE19-4FD3-B74D-F2B0F6D3D435}" srcOrd="1" destOrd="0" parTransId="{5EC0E3E1-241A-4C49-8465-081B974F6F8D}" sibTransId="{740E429F-183A-400A-9AD4-600B52C5D4F1}"/>
    <dgm:cxn modelId="{362575A5-C019-4E0B-A38C-E2CB1A395C54}" srcId="{774AAAC8-6C29-4BCB-9953-AC0391FA695A}" destId="{6C520CDA-5A79-49D3-ADF9-9715318759AE}" srcOrd="2" destOrd="0" parTransId="{2EA15D80-7031-4ABA-9B30-28849E6D7DCE}" sibTransId="{5302AA84-36C5-4CD9-908C-3C8318AD793F}"/>
    <dgm:cxn modelId="{3D94EFAA-3079-4231-ADDA-997E111A76B8}" type="presOf" srcId="{F3BEDEB7-EC7C-4C28-BEC3-761EB3263076}" destId="{2A815BC8-9718-4913-8BA4-D8C3A4049227}" srcOrd="0" destOrd="0" presId="urn:microsoft.com/office/officeart/2005/8/layout/hierarchy4"/>
    <dgm:cxn modelId="{FBC7ECCB-0F6E-41EC-BC33-3E2E50D4F181}" srcId="{909EC1A7-E70E-4AF7-B775-ED9F25BA2130}" destId="{1CB1CDA0-17CA-4D2B-9014-0141F610C0DE}" srcOrd="1" destOrd="0" parTransId="{C4BCBE3E-B0F7-44F8-BA33-2A2B773787A2}" sibTransId="{A50A0064-C283-4B76-938E-814A9F2340CD}"/>
    <dgm:cxn modelId="{F0AC34EC-B9C2-4628-A8C3-561D0168C06E}" type="presOf" srcId="{76EEF8BE-2B4E-42E6-A510-98CE9F1D0DDE}" destId="{7AED02CF-A26A-4B56-8EE6-42BE9B33775C}" srcOrd="0" destOrd="0" presId="urn:microsoft.com/office/officeart/2005/8/layout/hierarchy4"/>
    <dgm:cxn modelId="{90D4A7F3-6328-4EA8-9180-82DC5CE4A807}" type="presOf" srcId="{774AAAC8-6C29-4BCB-9953-AC0391FA695A}" destId="{19AE3AC6-CFD4-4D0D-B993-97041046FD71}" srcOrd="0" destOrd="0" presId="urn:microsoft.com/office/officeart/2005/8/layout/hierarchy4"/>
    <dgm:cxn modelId="{96F7BBF7-C924-48CE-A65C-485010A29B43}" srcId="{774AAAC8-6C29-4BCB-9953-AC0391FA695A}" destId="{33B116B8-55A5-47D3-8A70-476C228B2756}" srcOrd="0" destOrd="0" parTransId="{AE057B51-2AF0-4FF6-8033-F3BB81FF81E0}" sibTransId="{889A0917-F760-4C8F-80B7-A84679CFB0D3}"/>
    <dgm:cxn modelId="{B23C3FE2-8AAC-4F3D-8671-E863AD6833A0}" type="presParOf" srcId="{2A815BC8-9718-4913-8BA4-D8C3A4049227}" destId="{DB8C83DA-A3C4-4F9D-925A-832B0594AC75}" srcOrd="0" destOrd="0" presId="urn:microsoft.com/office/officeart/2005/8/layout/hierarchy4"/>
    <dgm:cxn modelId="{74931850-4289-4E55-9E78-AEE51E2E0F85}" type="presParOf" srcId="{DB8C83DA-A3C4-4F9D-925A-832B0594AC75}" destId="{73855E22-3BA3-4FF4-B9CD-6D066C64E994}" srcOrd="0" destOrd="0" presId="urn:microsoft.com/office/officeart/2005/8/layout/hierarchy4"/>
    <dgm:cxn modelId="{41233F83-2865-4DCC-8826-194A3C32ED14}" type="presParOf" srcId="{DB8C83DA-A3C4-4F9D-925A-832B0594AC75}" destId="{8B081B75-1E7A-4B65-BDDF-4F0719253250}" srcOrd="1" destOrd="0" presId="urn:microsoft.com/office/officeart/2005/8/layout/hierarchy4"/>
    <dgm:cxn modelId="{54775D63-0B6F-45F9-BBC3-4CDA858870F4}" type="presParOf" srcId="{DB8C83DA-A3C4-4F9D-925A-832B0594AC75}" destId="{C6329F23-2E48-47FC-95AE-046D44B96B90}" srcOrd="2" destOrd="0" presId="urn:microsoft.com/office/officeart/2005/8/layout/hierarchy4"/>
    <dgm:cxn modelId="{404C7E4C-EE58-4DA7-853C-CE34BCC1F6B1}" type="presParOf" srcId="{C6329F23-2E48-47FC-95AE-046D44B96B90}" destId="{016E9624-4A97-4269-BFC8-40A77A58F44A}" srcOrd="0" destOrd="0" presId="urn:microsoft.com/office/officeart/2005/8/layout/hierarchy4"/>
    <dgm:cxn modelId="{0A07BB19-51B7-4CBD-A33B-F8F49C92EB64}" type="presParOf" srcId="{016E9624-4A97-4269-BFC8-40A77A58F44A}" destId="{19AE3AC6-CFD4-4D0D-B993-97041046FD71}" srcOrd="0" destOrd="0" presId="urn:microsoft.com/office/officeart/2005/8/layout/hierarchy4"/>
    <dgm:cxn modelId="{FC2D872B-9558-4677-A317-8A8484AFDE0C}" type="presParOf" srcId="{016E9624-4A97-4269-BFC8-40A77A58F44A}" destId="{75541214-04DA-489F-A488-9FAA12ED8863}" srcOrd="1" destOrd="0" presId="urn:microsoft.com/office/officeart/2005/8/layout/hierarchy4"/>
    <dgm:cxn modelId="{CAFD5646-0781-4A1A-B504-B73D79164B2C}" type="presParOf" srcId="{016E9624-4A97-4269-BFC8-40A77A58F44A}" destId="{2EF15D4A-A37F-4BA1-BB7B-2700017C3371}" srcOrd="2" destOrd="0" presId="urn:microsoft.com/office/officeart/2005/8/layout/hierarchy4"/>
    <dgm:cxn modelId="{A21FBF46-E79E-4315-8791-39BB59FF0BCD}" type="presParOf" srcId="{2EF15D4A-A37F-4BA1-BB7B-2700017C3371}" destId="{14BEF7FF-CFEE-4F47-B7CA-4A626A24A6EE}" srcOrd="0" destOrd="0" presId="urn:microsoft.com/office/officeart/2005/8/layout/hierarchy4"/>
    <dgm:cxn modelId="{E45DDD06-3780-4BD1-9EF6-1E0E8D53995C}" type="presParOf" srcId="{14BEF7FF-CFEE-4F47-B7CA-4A626A24A6EE}" destId="{AD9270F0-250C-4D1C-B74F-FE21A17D606A}" srcOrd="0" destOrd="0" presId="urn:microsoft.com/office/officeart/2005/8/layout/hierarchy4"/>
    <dgm:cxn modelId="{626A3A5B-92DC-4BDB-9F40-59E679FE2A25}" type="presParOf" srcId="{14BEF7FF-CFEE-4F47-B7CA-4A626A24A6EE}" destId="{279E86C8-1B3A-4019-97E4-260115A0A3C9}" srcOrd="1" destOrd="0" presId="urn:microsoft.com/office/officeart/2005/8/layout/hierarchy4"/>
    <dgm:cxn modelId="{25BB58FD-112E-45B8-BA75-09A39851EEE8}" type="presParOf" srcId="{2EF15D4A-A37F-4BA1-BB7B-2700017C3371}" destId="{F5EF0042-170D-4CB7-B20C-BCAA64ED0545}" srcOrd="1" destOrd="0" presId="urn:microsoft.com/office/officeart/2005/8/layout/hierarchy4"/>
    <dgm:cxn modelId="{A5F54DAD-5D63-4668-9B33-3123AE151581}" type="presParOf" srcId="{2EF15D4A-A37F-4BA1-BB7B-2700017C3371}" destId="{C031761C-AA78-40EE-AF53-40BDBCBA33A4}" srcOrd="2" destOrd="0" presId="urn:microsoft.com/office/officeart/2005/8/layout/hierarchy4"/>
    <dgm:cxn modelId="{B705263F-22E9-4DC6-A685-9E5CE3DF3D2B}" type="presParOf" srcId="{C031761C-AA78-40EE-AF53-40BDBCBA33A4}" destId="{7AAF8860-9FF9-4666-B5F1-33F323E6AE9C}" srcOrd="0" destOrd="0" presId="urn:microsoft.com/office/officeart/2005/8/layout/hierarchy4"/>
    <dgm:cxn modelId="{689F20AA-B12B-4DB5-8183-1FC5F4236019}" type="presParOf" srcId="{C031761C-AA78-40EE-AF53-40BDBCBA33A4}" destId="{46746FAA-7BA2-49E1-A330-4BA2B7845CF5}" srcOrd="1" destOrd="0" presId="urn:microsoft.com/office/officeart/2005/8/layout/hierarchy4"/>
    <dgm:cxn modelId="{8EC31F3F-A149-4140-AFBC-D78E7F1998D9}" type="presParOf" srcId="{2EF15D4A-A37F-4BA1-BB7B-2700017C3371}" destId="{E4C138E0-EC6B-48A3-932B-380E4CDB3824}" srcOrd="3" destOrd="0" presId="urn:microsoft.com/office/officeart/2005/8/layout/hierarchy4"/>
    <dgm:cxn modelId="{F6A6B9F5-2345-43F3-B11E-09340DA1776C}" type="presParOf" srcId="{2EF15D4A-A37F-4BA1-BB7B-2700017C3371}" destId="{84FDE85C-C5F8-42AD-8A0D-0D90A18CEA3D}" srcOrd="4" destOrd="0" presId="urn:microsoft.com/office/officeart/2005/8/layout/hierarchy4"/>
    <dgm:cxn modelId="{9AC76CCB-93E2-4F99-A6F0-3042036667B1}" type="presParOf" srcId="{84FDE85C-C5F8-42AD-8A0D-0D90A18CEA3D}" destId="{09D2681C-7BD9-42AD-AAF1-FC73A69819CF}" srcOrd="0" destOrd="0" presId="urn:microsoft.com/office/officeart/2005/8/layout/hierarchy4"/>
    <dgm:cxn modelId="{62A8D31C-E9A9-40DD-B528-232BBF93D147}" type="presParOf" srcId="{84FDE85C-C5F8-42AD-8A0D-0D90A18CEA3D}" destId="{C1725656-6427-4E1E-BCBA-661FC3DCB350}" srcOrd="1" destOrd="0" presId="urn:microsoft.com/office/officeart/2005/8/layout/hierarchy4"/>
    <dgm:cxn modelId="{12605EFF-B71D-40CF-824A-1808DECBA27B}" type="presParOf" srcId="{C6329F23-2E48-47FC-95AE-046D44B96B90}" destId="{056F0FF8-1B7C-4828-B266-31204F291917}" srcOrd="1" destOrd="0" presId="urn:microsoft.com/office/officeart/2005/8/layout/hierarchy4"/>
    <dgm:cxn modelId="{4A53EA98-6F6F-4EA6-988B-09B461820C80}" type="presParOf" srcId="{C6329F23-2E48-47FC-95AE-046D44B96B90}" destId="{8C084D30-F644-43E9-A520-4C606DCE7FDA}" srcOrd="2" destOrd="0" presId="urn:microsoft.com/office/officeart/2005/8/layout/hierarchy4"/>
    <dgm:cxn modelId="{8BA1952C-F196-4460-82CF-56E7BAD43CB9}" type="presParOf" srcId="{8C084D30-F644-43E9-A520-4C606DCE7FDA}" destId="{72CA3688-8F96-47CC-AF18-C7375175F335}" srcOrd="0" destOrd="0" presId="urn:microsoft.com/office/officeart/2005/8/layout/hierarchy4"/>
    <dgm:cxn modelId="{A257C83F-AE7D-438B-8BE5-07762EFC1036}" type="presParOf" srcId="{8C084D30-F644-43E9-A520-4C606DCE7FDA}" destId="{B1FDFAD2-B9F9-4260-8863-C119EACAB21A}" srcOrd="1" destOrd="0" presId="urn:microsoft.com/office/officeart/2005/8/layout/hierarchy4"/>
    <dgm:cxn modelId="{C23B1FEC-0218-4833-A20F-EA073843F4B8}" type="presParOf" srcId="{8C084D30-F644-43E9-A520-4C606DCE7FDA}" destId="{EAD2D6FC-ECC3-4716-8879-C2B6122B896A}" srcOrd="2" destOrd="0" presId="urn:microsoft.com/office/officeart/2005/8/layout/hierarchy4"/>
    <dgm:cxn modelId="{2112AD60-88B1-4C94-BEE4-E4AF64ADE0D9}" type="presParOf" srcId="{EAD2D6FC-ECC3-4716-8879-C2B6122B896A}" destId="{490370B4-A762-4D6B-AE91-0295835909A4}" srcOrd="0" destOrd="0" presId="urn:microsoft.com/office/officeart/2005/8/layout/hierarchy4"/>
    <dgm:cxn modelId="{F345A5BD-7EE8-45C3-8F7F-9E54D8549378}" type="presParOf" srcId="{490370B4-A762-4D6B-AE91-0295835909A4}" destId="{7AED02CF-A26A-4B56-8EE6-42BE9B33775C}" srcOrd="0" destOrd="0" presId="urn:microsoft.com/office/officeart/2005/8/layout/hierarchy4"/>
    <dgm:cxn modelId="{EC0D3FBB-2D7C-40C5-8C02-9CE098CA925C}" type="presParOf" srcId="{490370B4-A762-4D6B-AE91-0295835909A4}" destId="{03DC4C17-58D6-4589-B143-6C993CD9D16F}" srcOrd="1" destOrd="0" presId="urn:microsoft.com/office/officeart/2005/8/layout/hierarchy4"/>
    <dgm:cxn modelId="{65E5BE43-67DF-4C55-8F08-5A849EF630A3}" type="presParOf" srcId="{EAD2D6FC-ECC3-4716-8879-C2B6122B896A}" destId="{5FE07656-1D0E-4AF2-832C-353A6644B3E2}" srcOrd="1" destOrd="0" presId="urn:microsoft.com/office/officeart/2005/8/layout/hierarchy4"/>
    <dgm:cxn modelId="{6468A4EE-8388-4EBD-BFDE-A5DFC8634391}" type="presParOf" srcId="{EAD2D6FC-ECC3-4716-8879-C2B6122B896A}" destId="{3ABE4974-FD76-4B36-82A8-AD30CE74860F}" srcOrd="2" destOrd="0" presId="urn:microsoft.com/office/officeart/2005/8/layout/hierarchy4"/>
    <dgm:cxn modelId="{0E13DC3B-1DF3-46A7-9A4B-8890F4407C4C}" type="presParOf" srcId="{3ABE4974-FD76-4B36-82A8-AD30CE74860F}" destId="{5BA10024-C3DD-4F1F-93E0-32A65B9B32C2}" srcOrd="0" destOrd="0" presId="urn:microsoft.com/office/officeart/2005/8/layout/hierarchy4"/>
    <dgm:cxn modelId="{5249F5D6-BFB1-4F04-ADE0-CD1944F04B30}" type="presParOf" srcId="{3ABE4974-FD76-4B36-82A8-AD30CE74860F}" destId="{A88F5215-2FEC-4B98-8C8A-94962C7A90F3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3855E22-3BA3-4FF4-B9CD-6D066C64E994}">
      <dsp:nvSpPr>
        <dsp:cNvPr id="0" name=""/>
        <dsp:cNvSpPr/>
      </dsp:nvSpPr>
      <dsp:spPr>
        <a:xfrm>
          <a:off x="788" y="2014"/>
          <a:ext cx="6866458" cy="1255259"/>
        </a:xfrm>
        <a:prstGeom prst="roundRect">
          <a:avLst>
            <a:gd name="adj" fmla="val 10000"/>
          </a:avLst>
        </a:prstGeom>
        <a:solidFill>
          <a:schemeClr val="accent1"/>
        </a:solidFill>
        <a:ln w="10795" cap="flat" cmpd="sng" algn="ctr">
          <a:solidFill>
            <a:schemeClr val="accent3">
              <a:lumMod val="7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0020" tIns="160020" rIns="160020" bIns="160020" numCol="1" spcCol="1270" anchor="ctr" anchorCtr="0">
          <a:noAutofit/>
        </a:bodyPr>
        <a:lstStyle/>
        <a:p>
          <a:pPr marL="0" lvl="0" indent="0" algn="ctr" defTabSz="1866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4200" kern="1200" noProof="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rPr>
            <a:t>Exchange Hybrid </a:t>
          </a:r>
          <a:r>
            <a:rPr lang="en-US" sz="4200" kern="1200" noProof="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rPr>
            <a:t>Mode</a:t>
          </a:r>
        </a:p>
      </dsp:txBody>
      <dsp:txXfrm>
        <a:off x="37553" y="38779"/>
        <a:ext cx="6792928" cy="1181729"/>
      </dsp:txXfrm>
    </dsp:sp>
    <dsp:sp modelId="{19AE3AC6-CFD4-4D0D-B993-97041046FD71}">
      <dsp:nvSpPr>
        <dsp:cNvPr id="0" name=""/>
        <dsp:cNvSpPr/>
      </dsp:nvSpPr>
      <dsp:spPr>
        <a:xfrm>
          <a:off x="788" y="1377651"/>
          <a:ext cx="4064521" cy="1255259"/>
        </a:xfrm>
        <a:prstGeom prst="roundRect">
          <a:avLst>
            <a:gd name="adj" fmla="val 10000"/>
          </a:avLst>
        </a:prstGeom>
        <a:solidFill>
          <a:schemeClr val="accent3">
            <a:lumMod val="75000"/>
          </a:schemeClr>
        </a:solidFill>
        <a:ln w="10795" cap="flat" cmpd="sng" algn="ctr">
          <a:solidFill>
            <a:schemeClr val="tx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0020" tIns="160020" rIns="160020" bIns="160020" numCol="1" spcCol="1270" anchor="ctr" anchorCtr="0">
          <a:noAutofit/>
        </a:bodyPr>
        <a:lstStyle/>
        <a:p>
          <a:pPr marL="0" lvl="0" indent="0" algn="ctr" defTabSz="1866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4200" kern="1200" noProof="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rPr>
            <a:t>Classic</a:t>
          </a:r>
        </a:p>
      </dsp:txBody>
      <dsp:txXfrm>
        <a:off x="37553" y="1414416"/>
        <a:ext cx="3990991" cy="1181729"/>
      </dsp:txXfrm>
    </dsp:sp>
    <dsp:sp modelId="{AD9270F0-250C-4D1C-B74F-FE21A17D606A}">
      <dsp:nvSpPr>
        <dsp:cNvPr id="0" name=""/>
        <dsp:cNvSpPr/>
      </dsp:nvSpPr>
      <dsp:spPr>
        <a:xfrm>
          <a:off x="788" y="2753289"/>
          <a:ext cx="1317938" cy="1255259"/>
        </a:xfrm>
        <a:prstGeom prst="roundRect">
          <a:avLst>
            <a:gd name="adj" fmla="val 10000"/>
          </a:avLst>
        </a:prstGeom>
        <a:solidFill>
          <a:schemeClr val="accent4"/>
        </a:solidFill>
        <a:ln w="10795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noProof="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rPr>
            <a:t>Express</a:t>
          </a:r>
        </a:p>
      </dsp:txBody>
      <dsp:txXfrm>
        <a:off x="37553" y="2790054"/>
        <a:ext cx="1244408" cy="1181729"/>
      </dsp:txXfrm>
    </dsp:sp>
    <dsp:sp modelId="{7AAF8860-9FF9-4666-B5F1-33F323E6AE9C}">
      <dsp:nvSpPr>
        <dsp:cNvPr id="0" name=""/>
        <dsp:cNvSpPr/>
      </dsp:nvSpPr>
      <dsp:spPr>
        <a:xfrm>
          <a:off x="1374079" y="2753289"/>
          <a:ext cx="1317938" cy="1255259"/>
        </a:xfrm>
        <a:prstGeom prst="roundRect">
          <a:avLst>
            <a:gd name="adj" fmla="val 10000"/>
          </a:avLst>
        </a:prstGeom>
        <a:solidFill>
          <a:schemeClr val="accent2"/>
        </a:solidFill>
        <a:ln w="10795" cap="flat" cmpd="sng" algn="ctr">
          <a:solidFill>
            <a:schemeClr val="accent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noProof="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rPr>
            <a:t>Minimal</a:t>
          </a:r>
        </a:p>
      </dsp:txBody>
      <dsp:txXfrm>
        <a:off x="1410844" y="2790054"/>
        <a:ext cx="1244408" cy="1181729"/>
      </dsp:txXfrm>
    </dsp:sp>
    <dsp:sp modelId="{09D2681C-7BD9-42AD-AAF1-FC73A69819CF}">
      <dsp:nvSpPr>
        <dsp:cNvPr id="0" name=""/>
        <dsp:cNvSpPr/>
      </dsp:nvSpPr>
      <dsp:spPr>
        <a:xfrm>
          <a:off x="2747371" y="2753289"/>
          <a:ext cx="1317938" cy="1255259"/>
        </a:xfrm>
        <a:prstGeom prst="roundRect">
          <a:avLst>
            <a:gd name="adj" fmla="val 10000"/>
          </a:avLst>
        </a:prstGeom>
        <a:solidFill>
          <a:schemeClr val="tx2"/>
        </a:solidFill>
        <a:ln w="10795" cap="flat" cmpd="sng" algn="ctr">
          <a:solidFill>
            <a:schemeClr val="tx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noProof="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rPr>
            <a:t>Full</a:t>
          </a:r>
        </a:p>
      </dsp:txBody>
      <dsp:txXfrm>
        <a:off x="2784136" y="2790054"/>
        <a:ext cx="1244408" cy="1181729"/>
      </dsp:txXfrm>
    </dsp:sp>
    <dsp:sp modelId="{72CA3688-8F96-47CC-AF18-C7375175F335}">
      <dsp:nvSpPr>
        <dsp:cNvPr id="0" name=""/>
        <dsp:cNvSpPr/>
      </dsp:nvSpPr>
      <dsp:spPr>
        <a:xfrm>
          <a:off x="4176016" y="1377651"/>
          <a:ext cx="2691230" cy="1255259"/>
        </a:xfrm>
        <a:prstGeom prst="roundRect">
          <a:avLst>
            <a:gd name="adj" fmla="val 10000"/>
          </a:avLst>
        </a:prstGeom>
        <a:solidFill>
          <a:schemeClr val="accent5">
            <a:lumMod val="75000"/>
          </a:schemeClr>
        </a:solidFill>
        <a:ln w="10795" cap="flat" cmpd="sng" algn="ctr">
          <a:solidFill>
            <a:schemeClr val="accent5">
              <a:lumMod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0020" tIns="160020" rIns="160020" bIns="160020" numCol="1" spcCol="1270" anchor="ctr" anchorCtr="0">
          <a:noAutofit/>
        </a:bodyPr>
        <a:lstStyle/>
        <a:p>
          <a:pPr marL="0" lvl="0" indent="0" algn="ctr" defTabSz="1866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4200" kern="1200" noProof="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rPr>
            <a:t>Modern</a:t>
          </a:r>
        </a:p>
      </dsp:txBody>
      <dsp:txXfrm>
        <a:off x="4212781" y="1414416"/>
        <a:ext cx="2617700" cy="1181729"/>
      </dsp:txXfrm>
    </dsp:sp>
    <dsp:sp modelId="{7AED02CF-A26A-4B56-8EE6-42BE9B33775C}">
      <dsp:nvSpPr>
        <dsp:cNvPr id="0" name=""/>
        <dsp:cNvSpPr/>
      </dsp:nvSpPr>
      <dsp:spPr>
        <a:xfrm>
          <a:off x="4176016" y="2753289"/>
          <a:ext cx="1317938" cy="1255259"/>
        </a:xfrm>
        <a:prstGeom prst="roundRect">
          <a:avLst>
            <a:gd name="adj" fmla="val 10000"/>
          </a:avLst>
        </a:prstGeom>
        <a:solidFill>
          <a:schemeClr val="accent2"/>
        </a:solidFill>
        <a:ln w="10795" cap="flat" cmpd="sng" algn="ctr">
          <a:solidFill>
            <a:schemeClr val="accent5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noProof="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rPr>
            <a:t>Minimal</a:t>
          </a:r>
        </a:p>
      </dsp:txBody>
      <dsp:txXfrm>
        <a:off x="4212781" y="2790054"/>
        <a:ext cx="1244408" cy="1181729"/>
      </dsp:txXfrm>
    </dsp:sp>
    <dsp:sp modelId="{5BA10024-C3DD-4F1F-93E0-32A65B9B32C2}">
      <dsp:nvSpPr>
        <dsp:cNvPr id="0" name=""/>
        <dsp:cNvSpPr/>
      </dsp:nvSpPr>
      <dsp:spPr>
        <a:xfrm>
          <a:off x="5549308" y="2753289"/>
          <a:ext cx="1317938" cy="1255259"/>
        </a:xfrm>
        <a:prstGeom prst="roundRect">
          <a:avLst>
            <a:gd name="adj" fmla="val 10000"/>
          </a:avLst>
        </a:prstGeom>
        <a:solidFill>
          <a:schemeClr val="tx2"/>
        </a:solidFill>
        <a:ln w="10795" cap="flat" cmpd="sng" algn="ctr">
          <a:solidFill>
            <a:schemeClr val="accent5">
              <a:lumMod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noProof="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rPr>
            <a:t>Full</a:t>
          </a:r>
        </a:p>
      </dsp:txBody>
      <dsp:txXfrm>
        <a:off x="5586073" y="2790054"/>
        <a:ext cx="1244408" cy="118172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1D6C739-07A6-4F2E-B05B-E72EB01FDFD2}" type="datetimeFigureOut">
              <a:rPr lang="en-GB" smtClean="0"/>
              <a:t>02/11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ECE968-D791-4ADC-840C-105910554B06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81317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ECE968-D791-4ADC-840C-105910554B06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388640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ECE968-D791-4ADC-840C-105910554B06}" type="slidenum">
              <a:rPr lang="en-US" smtClean="0"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24732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testconnectivity.microsoft.com/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ECE968-D791-4ADC-840C-105910554B06}" type="slidenum">
              <a:rPr lang="en-GB" smtClean="0"/>
              <a:t>3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874362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ECE968-D791-4ADC-840C-105910554B06}" type="slidenum">
              <a:rPr lang="en-GB" smtClean="0"/>
              <a:t>3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098373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ECE968-D791-4ADC-840C-105910554B06}" type="slidenum">
              <a:rPr lang="en-US" smtClean="0"/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44369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ECE968-D791-4ADC-840C-105910554B06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13676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ECE968-D791-4ADC-840C-105910554B06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48639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ECE968-D791-4ADC-840C-105910554B06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65650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ECE968-D791-4ADC-840C-105910554B06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2930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ECE968-D791-4ADC-840C-105910554B06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88765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ECE968-D791-4ADC-840C-105910554B06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09051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ECE968-D791-4ADC-840C-105910554B06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787964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ECE968-D791-4ADC-840C-105910554B06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97414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jpe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DA5E655A-DD21-5D8A-17E2-190BE6D6C1D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C62828">
                  <a:lumMod val="67000"/>
                </a:srgbClr>
              </a:gs>
              <a:gs pos="48000">
                <a:srgbClr val="E53935"/>
              </a:gs>
              <a:gs pos="100000">
                <a:srgbClr val="B71C1C"/>
              </a:gs>
            </a:gsLst>
            <a:path path="circle">
              <a:fillToRect l="100000" t="100000"/>
            </a:path>
            <a:tileRect r="-100000" b="-10000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983C1999-695E-6DA8-4905-C8EFB59C9E39}"/>
              </a:ext>
            </a:extLst>
          </p:cNvPr>
          <p:cNvGrpSpPr/>
          <p:nvPr userDrawn="1"/>
        </p:nvGrpSpPr>
        <p:grpSpPr>
          <a:xfrm rot="8462616">
            <a:off x="-2504038" y="-6265630"/>
            <a:ext cx="15412825" cy="16074031"/>
            <a:chOff x="0" y="-77012"/>
            <a:chExt cx="15412825" cy="16074031"/>
          </a:xfrm>
        </p:grpSpPr>
        <p:grpSp>
          <p:nvGrpSpPr>
            <p:cNvPr id="38" name="Group 84">
              <a:extLst>
                <a:ext uri="{FF2B5EF4-FFF2-40B4-BE49-F238E27FC236}">
                  <a16:creationId xmlns:a16="http://schemas.microsoft.com/office/drawing/2014/main" id="{EA6E8121-7B29-B997-4CFB-7C3766443BA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0" y="5280998"/>
              <a:ext cx="12148525" cy="10716021"/>
              <a:chOff x="3286" y="1675"/>
              <a:chExt cx="1094" cy="965"/>
            </a:xfrm>
            <a:solidFill>
              <a:srgbClr val="FFFFFF">
                <a:alpha val="3000"/>
              </a:srgbClr>
            </a:solidFill>
          </p:grpSpPr>
          <p:sp>
            <p:nvSpPr>
              <p:cNvPr id="41" name="Freeform 85">
                <a:extLst>
                  <a:ext uri="{FF2B5EF4-FFF2-40B4-BE49-F238E27FC236}">
                    <a16:creationId xmlns:a16="http://schemas.microsoft.com/office/drawing/2014/main" id="{2EA822FA-DDAB-C8E0-1778-08099BA626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84" y="1685"/>
                <a:ext cx="910" cy="838"/>
              </a:xfrm>
              <a:custGeom>
                <a:avLst/>
                <a:gdLst>
                  <a:gd name="T0" fmla="*/ 233 w 383"/>
                  <a:gd name="T1" fmla="*/ 49 h 352"/>
                  <a:gd name="T2" fmla="*/ 212 w 383"/>
                  <a:gd name="T3" fmla="*/ 51 h 352"/>
                  <a:gd name="T4" fmla="*/ 151 w 383"/>
                  <a:gd name="T5" fmla="*/ 70 h 352"/>
                  <a:gd name="T6" fmla="*/ 187 w 383"/>
                  <a:gd name="T7" fmla="*/ 66 h 352"/>
                  <a:gd name="T8" fmla="*/ 189 w 383"/>
                  <a:gd name="T9" fmla="*/ 66 h 352"/>
                  <a:gd name="T10" fmla="*/ 198 w 383"/>
                  <a:gd name="T11" fmla="*/ 67 h 352"/>
                  <a:gd name="T12" fmla="*/ 225 w 383"/>
                  <a:gd name="T13" fmla="*/ 74 h 352"/>
                  <a:gd name="T14" fmla="*/ 270 w 383"/>
                  <a:gd name="T15" fmla="*/ 102 h 352"/>
                  <a:gd name="T16" fmla="*/ 319 w 383"/>
                  <a:gd name="T17" fmla="*/ 164 h 352"/>
                  <a:gd name="T18" fmla="*/ 328 w 383"/>
                  <a:gd name="T19" fmla="*/ 202 h 352"/>
                  <a:gd name="T20" fmla="*/ 328 w 383"/>
                  <a:gd name="T21" fmla="*/ 201 h 352"/>
                  <a:gd name="T22" fmla="*/ 303 w 383"/>
                  <a:gd name="T23" fmla="*/ 278 h 352"/>
                  <a:gd name="T24" fmla="*/ 245 w 383"/>
                  <a:gd name="T25" fmla="*/ 333 h 352"/>
                  <a:gd name="T26" fmla="*/ 192 w 383"/>
                  <a:gd name="T27" fmla="*/ 350 h 352"/>
                  <a:gd name="T28" fmla="*/ 199 w 383"/>
                  <a:gd name="T29" fmla="*/ 351 h 352"/>
                  <a:gd name="T30" fmla="*/ 199 w 383"/>
                  <a:gd name="T31" fmla="*/ 351 h 352"/>
                  <a:gd name="T32" fmla="*/ 215 w 383"/>
                  <a:gd name="T33" fmla="*/ 352 h 352"/>
                  <a:gd name="T34" fmla="*/ 253 w 383"/>
                  <a:gd name="T35" fmla="*/ 347 h 352"/>
                  <a:gd name="T36" fmla="*/ 306 w 383"/>
                  <a:gd name="T37" fmla="*/ 322 h 352"/>
                  <a:gd name="T38" fmla="*/ 371 w 383"/>
                  <a:gd name="T39" fmla="*/ 241 h 352"/>
                  <a:gd name="T40" fmla="*/ 382 w 383"/>
                  <a:gd name="T41" fmla="*/ 183 h 352"/>
                  <a:gd name="T42" fmla="*/ 382 w 383"/>
                  <a:gd name="T43" fmla="*/ 183 h 352"/>
                  <a:gd name="T44" fmla="*/ 382 w 383"/>
                  <a:gd name="T45" fmla="*/ 183 h 352"/>
                  <a:gd name="T46" fmla="*/ 382 w 383"/>
                  <a:gd name="T47" fmla="*/ 183 h 352"/>
                  <a:gd name="T48" fmla="*/ 382 w 383"/>
                  <a:gd name="T49" fmla="*/ 183 h 352"/>
                  <a:gd name="T50" fmla="*/ 332 w 383"/>
                  <a:gd name="T51" fmla="*/ 82 h 352"/>
                  <a:gd name="T52" fmla="*/ 233 w 383"/>
                  <a:gd name="T53" fmla="*/ 49 h 352"/>
                  <a:gd name="T54" fmla="*/ 382 w 383"/>
                  <a:gd name="T55" fmla="*/ 180 h 352"/>
                  <a:gd name="T56" fmla="*/ 382 w 383"/>
                  <a:gd name="T57" fmla="*/ 183 h 352"/>
                  <a:gd name="T58" fmla="*/ 382 w 383"/>
                  <a:gd name="T59" fmla="*/ 183 h 352"/>
                  <a:gd name="T60" fmla="*/ 382 w 383"/>
                  <a:gd name="T61" fmla="*/ 183 h 352"/>
                  <a:gd name="T62" fmla="*/ 382 w 383"/>
                  <a:gd name="T63" fmla="*/ 184 h 352"/>
                  <a:gd name="T64" fmla="*/ 382 w 383"/>
                  <a:gd name="T65" fmla="*/ 182 h 352"/>
                  <a:gd name="T66" fmla="*/ 382 w 383"/>
                  <a:gd name="T67" fmla="*/ 180 h 352"/>
                  <a:gd name="T68" fmla="*/ 207 w 383"/>
                  <a:gd name="T69" fmla="*/ 0 h 352"/>
                  <a:gd name="T70" fmla="*/ 200 w 383"/>
                  <a:gd name="T71" fmla="*/ 0 h 352"/>
                  <a:gd name="T72" fmla="*/ 200 w 383"/>
                  <a:gd name="T73" fmla="*/ 0 h 352"/>
                  <a:gd name="T74" fmla="*/ 200 w 383"/>
                  <a:gd name="T75" fmla="*/ 0 h 352"/>
                  <a:gd name="T76" fmla="*/ 199 w 383"/>
                  <a:gd name="T77" fmla="*/ 0 h 352"/>
                  <a:gd name="T78" fmla="*/ 30 w 383"/>
                  <a:gd name="T79" fmla="*/ 80 h 352"/>
                  <a:gd name="T80" fmla="*/ 0 w 383"/>
                  <a:gd name="T81" fmla="*/ 115 h 352"/>
                  <a:gd name="T82" fmla="*/ 59 w 383"/>
                  <a:gd name="T83" fmla="*/ 60 h 352"/>
                  <a:gd name="T84" fmla="*/ 143 w 383"/>
                  <a:gd name="T85" fmla="*/ 14 h 352"/>
                  <a:gd name="T86" fmla="*/ 207 w 383"/>
                  <a:gd name="T87" fmla="*/ 0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83" h="352">
                    <a:moveTo>
                      <a:pt x="233" y="49"/>
                    </a:moveTo>
                    <a:cubicBezTo>
                      <a:pt x="226" y="49"/>
                      <a:pt x="219" y="50"/>
                      <a:pt x="212" y="51"/>
                    </a:cubicBezTo>
                    <a:cubicBezTo>
                      <a:pt x="191" y="53"/>
                      <a:pt x="170" y="60"/>
                      <a:pt x="151" y="70"/>
                    </a:cubicBezTo>
                    <a:cubicBezTo>
                      <a:pt x="163" y="67"/>
                      <a:pt x="175" y="66"/>
                      <a:pt x="187" y="66"/>
                    </a:cubicBezTo>
                    <a:cubicBezTo>
                      <a:pt x="185" y="66"/>
                      <a:pt x="188" y="66"/>
                      <a:pt x="189" y="66"/>
                    </a:cubicBezTo>
                    <a:cubicBezTo>
                      <a:pt x="192" y="66"/>
                      <a:pt x="195" y="67"/>
                      <a:pt x="198" y="67"/>
                    </a:cubicBezTo>
                    <a:cubicBezTo>
                      <a:pt x="207" y="68"/>
                      <a:pt x="216" y="71"/>
                      <a:pt x="225" y="74"/>
                    </a:cubicBezTo>
                    <a:cubicBezTo>
                      <a:pt x="242" y="81"/>
                      <a:pt x="257" y="91"/>
                      <a:pt x="270" y="102"/>
                    </a:cubicBezTo>
                    <a:cubicBezTo>
                      <a:pt x="291" y="119"/>
                      <a:pt x="309" y="139"/>
                      <a:pt x="319" y="164"/>
                    </a:cubicBezTo>
                    <a:cubicBezTo>
                      <a:pt x="325" y="176"/>
                      <a:pt x="327" y="189"/>
                      <a:pt x="328" y="202"/>
                    </a:cubicBezTo>
                    <a:cubicBezTo>
                      <a:pt x="328" y="201"/>
                      <a:pt x="328" y="201"/>
                      <a:pt x="328" y="201"/>
                    </a:cubicBezTo>
                    <a:cubicBezTo>
                      <a:pt x="328" y="229"/>
                      <a:pt x="318" y="255"/>
                      <a:pt x="303" y="278"/>
                    </a:cubicBezTo>
                    <a:cubicBezTo>
                      <a:pt x="287" y="300"/>
                      <a:pt x="268" y="319"/>
                      <a:pt x="245" y="333"/>
                    </a:cubicBezTo>
                    <a:cubicBezTo>
                      <a:pt x="229" y="342"/>
                      <a:pt x="211" y="348"/>
                      <a:pt x="192" y="350"/>
                    </a:cubicBezTo>
                    <a:cubicBezTo>
                      <a:pt x="194" y="351"/>
                      <a:pt x="197" y="351"/>
                      <a:pt x="199" y="351"/>
                    </a:cubicBezTo>
                    <a:cubicBezTo>
                      <a:pt x="199" y="351"/>
                      <a:pt x="199" y="351"/>
                      <a:pt x="199" y="351"/>
                    </a:cubicBezTo>
                    <a:cubicBezTo>
                      <a:pt x="204" y="352"/>
                      <a:pt x="210" y="352"/>
                      <a:pt x="215" y="352"/>
                    </a:cubicBezTo>
                    <a:cubicBezTo>
                      <a:pt x="227" y="352"/>
                      <a:pt x="240" y="351"/>
                      <a:pt x="253" y="347"/>
                    </a:cubicBezTo>
                    <a:cubicBezTo>
                      <a:pt x="272" y="342"/>
                      <a:pt x="290" y="333"/>
                      <a:pt x="306" y="322"/>
                    </a:cubicBezTo>
                    <a:cubicBezTo>
                      <a:pt x="335" y="302"/>
                      <a:pt x="358" y="273"/>
                      <a:pt x="371" y="241"/>
                    </a:cubicBezTo>
                    <a:cubicBezTo>
                      <a:pt x="378" y="223"/>
                      <a:pt x="383" y="202"/>
                      <a:pt x="382" y="183"/>
                    </a:cubicBezTo>
                    <a:cubicBezTo>
                      <a:pt x="382" y="183"/>
                      <a:pt x="382" y="183"/>
                      <a:pt x="382" y="183"/>
                    </a:cubicBezTo>
                    <a:cubicBezTo>
                      <a:pt x="382" y="183"/>
                      <a:pt x="382" y="183"/>
                      <a:pt x="382" y="183"/>
                    </a:cubicBezTo>
                    <a:cubicBezTo>
                      <a:pt x="382" y="183"/>
                      <a:pt x="382" y="183"/>
                      <a:pt x="382" y="183"/>
                    </a:cubicBezTo>
                    <a:cubicBezTo>
                      <a:pt x="382" y="183"/>
                      <a:pt x="382" y="183"/>
                      <a:pt x="382" y="183"/>
                    </a:cubicBezTo>
                    <a:cubicBezTo>
                      <a:pt x="383" y="143"/>
                      <a:pt x="362" y="106"/>
                      <a:pt x="332" y="82"/>
                    </a:cubicBezTo>
                    <a:cubicBezTo>
                      <a:pt x="304" y="60"/>
                      <a:pt x="268" y="49"/>
                      <a:pt x="233" y="49"/>
                    </a:cubicBezTo>
                    <a:moveTo>
                      <a:pt x="382" y="180"/>
                    </a:moveTo>
                    <a:cubicBezTo>
                      <a:pt x="382" y="180"/>
                      <a:pt x="382" y="181"/>
                      <a:pt x="382" y="183"/>
                    </a:cubicBezTo>
                    <a:cubicBezTo>
                      <a:pt x="382" y="183"/>
                      <a:pt x="382" y="183"/>
                      <a:pt x="382" y="183"/>
                    </a:cubicBezTo>
                    <a:cubicBezTo>
                      <a:pt x="382" y="183"/>
                      <a:pt x="382" y="183"/>
                      <a:pt x="382" y="183"/>
                    </a:cubicBezTo>
                    <a:cubicBezTo>
                      <a:pt x="382" y="183"/>
                      <a:pt x="382" y="184"/>
                      <a:pt x="382" y="184"/>
                    </a:cubicBezTo>
                    <a:cubicBezTo>
                      <a:pt x="382" y="184"/>
                      <a:pt x="382" y="183"/>
                      <a:pt x="382" y="182"/>
                    </a:cubicBezTo>
                    <a:cubicBezTo>
                      <a:pt x="382" y="181"/>
                      <a:pt x="382" y="180"/>
                      <a:pt x="382" y="180"/>
                    </a:cubicBezTo>
                    <a:moveTo>
                      <a:pt x="207" y="0"/>
                    </a:moveTo>
                    <a:cubicBezTo>
                      <a:pt x="204" y="0"/>
                      <a:pt x="202" y="0"/>
                      <a:pt x="200" y="0"/>
                    </a:cubicBezTo>
                    <a:cubicBezTo>
                      <a:pt x="200" y="0"/>
                      <a:pt x="200" y="0"/>
                      <a:pt x="200" y="0"/>
                    </a:cubicBezTo>
                    <a:cubicBezTo>
                      <a:pt x="200" y="0"/>
                      <a:pt x="200" y="0"/>
                      <a:pt x="200" y="0"/>
                    </a:cubicBezTo>
                    <a:cubicBezTo>
                      <a:pt x="200" y="0"/>
                      <a:pt x="199" y="0"/>
                      <a:pt x="199" y="0"/>
                    </a:cubicBezTo>
                    <a:cubicBezTo>
                      <a:pt x="136" y="6"/>
                      <a:pt x="75" y="36"/>
                      <a:pt x="30" y="80"/>
                    </a:cubicBezTo>
                    <a:cubicBezTo>
                      <a:pt x="19" y="91"/>
                      <a:pt x="9" y="102"/>
                      <a:pt x="0" y="115"/>
                    </a:cubicBezTo>
                    <a:cubicBezTo>
                      <a:pt x="17" y="94"/>
                      <a:pt x="37" y="76"/>
                      <a:pt x="59" y="60"/>
                    </a:cubicBezTo>
                    <a:cubicBezTo>
                      <a:pt x="85" y="41"/>
                      <a:pt x="113" y="24"/>
                      <a:pt x="143" y="14"/>
                    </a:cubicBezTo>
                    <a:cubicBezTo>
                      <a:pt x="164" y="6"/>
                      <a:pt x="185" y="1"/>
                      <a:pt x="207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2" name="Freeform 86">
                <a:extLst>
                  <a:ext uri="{FF2B5EF4-FFF2-40B4-BE49-F238E27FC236}">
                    <a16:creationId xmlns:a16="http://schemas.microsoft.com/office/drawing/2014/main" id="{20798A7A-2453-D51F-CC8D-523B5467FC6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47" y="2425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close/>
                    <a:moveTo>
                      <a:pt x="0" y="0"/>
                    </a:move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3" name="Freeform 87">
                <a:extLst>
                  <a:ext uri="{FF2B5EF4-FFF2-40B4-BE49-F238E27FC236}">
                    <a16:creationId xmlns:a16="http://schemas.microsoft.com/office/drawing/2014/main" id="{1F614C3D-8A28-A604-A8F1-B46270CBB1A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47" y="2425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moveTo>
                      <a:pt x="0" y="0"/>
                    </a:moveTo>
                    <a:lnTo>
                      <a:pt x="0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" name="Freeform 88">
                <a:extLst>
                  <a:ext uri="{FF2B5EF4-FFF2-40B4-BE49-F238E27FC236}">
                    <a16:creationId xmlns:a16="http://schemas.microsoft.com/office/drawing/2014/main" id="{5A2F29C3-FB18-E076-ABF0-FAAC2FB67D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86" y="1675"/>
                <a:ext cx="1094" cy="965"/>
              </a:xfrm>
              <a:custGeom>
                <a:avLst/>
                <a:gdLst>
                  <a:gd name="T0" fmla="*/ 456 w 460"/>
                  <a:gd name="T1" fmla="*/ 144 h 405"/>
                  <a:gd name="T2" fmla="*/ 389 w 460"/>
                  <a:gd name="T3" fmla="*/ 39 h 405"/>
                  <a:gd name="T4" fmla="*/ 253 w 460"/>
                  <a:gd name="T5" fmla="*/ 3 h 405"/>
                  <a:gd name="T6" fmla="*/ 175 w 460"/>
                  <a:gd name="T7" fmla="*/ 21 h 405"/>
                  <a:gd name="T8" fmla="*/ 107 w 460"/>
                  <a:gd name="T9" fmla="*/ 59 h 405"/>
                  <a:gd name="T10" fmla="*/ 28 w 460"/>
                  <a:gd name="T11" fmla="*/ 137 h 405"/>
                  <a:gd name="T12" fmla="*/ 12 w 460"/>
                  <a:gd name="T13" fmla="*/ 248 h 405"/>
                  <a:gd name="T14" fmla="*/ 76 w 460"/>
                  <a:gd name="T15" fmla="*/ 340 h 405"/>
                  <a:gd name="T16" fmla="*/ 186 w 460"/>
                  <a:gd name="T17" fmla="*/ 398 h 405"/>
                  <a:gd name="T18" fmla="*/ 243 w 460"/>
                  <a:gd name="T19" fmla="*/ 404 h 405"/>
                  <a:gd name="T20" fmla="*/ 306 w 460"/>
                  <a:gd name="T21" fmla="*/ 390 h 405"/>
                  <a:gd name="T22" fmla="*/ 416 w 460"/>
                  <a:gd name="T23" fmla="*/ 307 h 405"/>
                  <a:gd name="T24" fmla="*/ 460 w 460"/>
                  <a:gd name="T25" fmla="*/ 179 h 405"/>
                  <a:gd name="T26" fmla="*/ 456 w 460"/>
                  <a:gd name="T27" fmla="*/ 144 h 405"/>
                  <a:gd name="T28" fmla="*/ 456 w 460"/>
                  <a:gd name="T29" fmla="*/ 144 h 405"/>
                  <a:gd name="T30" fmla="*/ 423 w 460"/>
                  <a:gd name="T31" fmla="*/ 195 h 405"/>
                  <a:gd name="T32" fmla="*/ 380 w 460"/>
                  <a:gd name="T33" fmla="*/ 297 h 405"/>
                  <a:gd name="T34" fmla="*/ 299 w 460"/>
                  <a:gd name="T35" fmla="*/ 350 h 405"/>
                  <a:gd name="T36" fmla="*/ 240 w 460"/>
                  <a:gd name="T37" fmla="*/ 355 h 405"/>
                  <a:gd name="T38" fmla="*/ 240 w 460"/>
                  <a:gd name="T39" fmla="*/ 355 h 405"/>
                  <a:gd name="T40" fmla="*/ 127 w 460"/>
                  <a:gd name="T41" fmla="*/ 281 h 405"/>
                  <a:gd name="T42" fmla="*/ 95 w 460"/>
                  <a:gd name="T43" fmla="*/ 212 h 405"/>
                  <a:gd name="T44" fmla="*/ 103 w 460"/>
                  <a:gd name="T45" fmla="*/ 167 h 405"/>
                  <a:gd name="T46" fmla="*/ 143 w 460"/>
                  <a:gd name="T47" fmla="*/ 112 h 405"/>
                  <a:gd name="T48" fmla="*/ 186 w 460"/>
                  <a:gd name="T49" fmla="*/ 78 h 405"/>
                  <a:gd name="T50" fmla="*/ 339 w 460"/>
                  <a:gd name="T51" fmla="*/ 66 h 405"/>
                  <a:gd name="T52" fmla="*/ 423 w 460"/>
                  <a:gd name="T53" fmla="*/ 180 h 405"/>
                  <a:gd name="T54" fmla="*/ 423 w 460"/>
                  <a:gd name="T55" fmla="*/ 195 h 405"/>
                  <a:gd name="T56" fmla="*/ 423 w 460"/>
                  <a:gd name="T57" fmla="*/ 195 h 4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60" h="405">
                    <a:moveTo>
                      <a:pt x="456" y="144"/>
                    </a:moveTo>
                    <a:cubicBezTo>
                      <a:pt x="447" y="102"/>
                      <a:pt x="423" y="64"/>
                      <a:pt x="389" y="39"/>
                    </a:cubicBezTo>
                    <a:cubicBezTo>
                      <a:pt x="350" y="11"/>
                      <a:pt x="299" y="0"/>
                      <a:pt x="253" y="3"/>
                    </a:cubicBezTo>
                    <a:cubicBezTo>
                      <a:pt x="226" y="5"/>
                      <a:pt x="200" y="11"/>
                      <a:pt x="175" y="21"/>
                    </a:cubicBezTo>
                    <a:cubicBezTo>
                      <a:pt x="151" y="31"/>
                      <a:pt x="129" y="44"/>
                      <a:pt x="107" y="59"/>
                    </a:cubicBezTo>
                    <a:cubicBezTo>
                      <a:pt x="77" y="80"/>
                      <a:pt x="48" y="106"/>
                      <a:pt x="28" y="137"/>
                    </a:cubicBezTo>
                    <a:cubicBezTo>
                      <a:pt x="7" y="171"/>
                      <a:pt x="0" y="210"/>
                      <a:pt x="12" y="248"/>
                    </a:cubicBezTo>
                    <a:cubicBezTo>
                      <a:pt x="23" y="284"/>
                      <a:pt x="48" y="316"/>
                      <a:pt x="76" y="340"/>
                    </a:cubicBezTo>
                    <a:cubicBezTo>
                      <a:pt x="108" y="367"/>
                      <a:pt x="145" y="389"/>
                      <a:pt x="186" y="398"/>
                    </a:cubicBezTo>
                    <a:cubicBezTo>
                      <a:pt x="205" y="403"/>
                      <a:pt x="224" y="405"/>
                      <a:pt x="243" y="404"/>
                    </a:cubicBezTo>
                    <a:cubicBezTo>
                      <a:pt x="264" y="402"/>
                      <a:pt x="286" y="398"/>
                      <a:pt x="306" y="390"/>
                    </a:cubicBezTo>
                    <a:cubicBezTo>
                      <a:pt x="350" y="374"/>
                      <a:pt x="388" y="344"/>
                      <a:pt x="416" y="307"/>
                    </a:cubicBezTo>
                    <a:cubicBezTo>
                      <a:pt x="444" y="270"/>
                      <a:pt x="460" y="225"/>
                      <a:pt x="460" y="179"/>
                    </a:cubicBezTo>
                    <a:cubicBezTo>
                      <a:pt x="460" y="167"/>
                      <a:pt x="459" y="155"/>
                      <a:pt x="456" y="144"/>
                    </a:cubicBezTo>
                    <a:cubicBezTo>
                      <a:pt x="453" y="127"/>
                      <a:pt x="460" y="160"/>
                      <a:pt x="456" y="144"/>
                    </a:cubicBezTo>
                    <a:close/>
                    <a:moveTo>
                      <a:pt x="423" y="195"/>
                    </a:moveTo>
                    <a:cubicBezTo>
                      <a:pt x="422" y="232"/>
                      <a:pt x="404" y="270"/>
                      <a:pt x="380" y="297"/>
                    </a:cubicBezTo>
                    <a:cubicBezTo>
                      <a:pt x="358" y="322"/>
                      <a:pt x="330" y="340"/>
                      <a:pt x="299" y="350"/>
                    </a:cubicBezTo>
                    <a:cubicBezTo>
                      <a:pt x="280" y="356"/>
                      <a:pt x="260" y="357"/>
                      <a:pt x="240" y="355"/>
                    </a:cubicBezTo>
                    <a:cubicBezTo>
                      <a:pt x="240" y="355"/>
                      <a:pt x="240" y="355"/>
                      <a:pt x="240" y="355"/>
                    </a:cubicBezTo>
                    <a:cubicBezTo>
                      <a:pt x="193" y="349"/>
                      <a:pt x="156" y="317"/>
                      <a:pt x="127" y="281"/>
                    </a:cubicBezTo>
                    <a:cubicBezTo>
                      <a:pt x="111" y="262"/>
                      <a:pt x="98" y="238"/>
                      <a:pt x="95" y="212"/>
                    </a:cubicBezTo>
                    <a:cubicBezTo>
                      <a:pt x="94" y="197"/>
                      <a:pt x="97" y="181"/>
                      <a:pt x="103" y="167"/>
                    </a:cubicBezTo>
                    <a:cubicBezTo>
                      <a:pt x="112" y="146"/>
                      <a:pt x="127" y="128"/>
                      <a:pt x="143" y="112"/>
                    </a:cubicBezTo>
                    <a:cubicBezTo>
                      <a:pt x="156" y="99"/>
                      <a:pt x="170" y="87"/>
                      <a:pt x="186" y="78"/>
                    </a:cubicBezTo>
                    <a:cubicBezTo>
                      <a:pt x="232" y="51"/>
                      <a:pt x="289" y="46"/>
                      <a:pt x="339" y="66"/>
                    </a:cubicBezTo>
                    <a:cubicBezTo>
                      <a:pt x="385" y="85"/>
                      <a:pt x="421" y="129"/>
                      <a:pt x="423" y="180"/>
                    </a:cubicBezTo>
                    <a:cubicBezTo>
                      <a:pt x="423" y="185"/>
                      <a:pt x="423" y="190"/>
                      <a:pt x="423" y="195"/>
                    </a:cubicBezTo>
                    <a:cubicBezTo>
                      <a:pt x="423" y="197"/>
                      <a:pt x="423" y="194"/>
                      <a:pt x="423" y="19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39" name="Freeform 88">
              <a:extLst>
                <a:ext uri="{FF2B5EF4-FFF2-40B4-BE49-F238E27FC236}">
                  <a16:creationId xmlns:a16="http://schemas.microsoft.com/office/drawing/2014/main" id="{8B42E66D-A8ED-6CC9-3CB2-D25CD7891A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46032" y="2688184"/>
              <a:ext cx="12148525" cy="10716021"/>
            </a:xfrm>
            <a:custGeom>
              <a:avLst/>
              <a:gdLst>
                <a:gd name="T0" fmla="*/ 456 w 460"/>
                <a:gd name="T1" fmla="*/ 144 h 405"/>
                <a:gd name="T2" fmla="*/ 389 w 460"/>
                <a:gd name="T3" fmla="*/ 39 h 405"/>
                <a:gd name="T4" fmla="*/ 253 w 460"/>
                <a:gd name="T5" fmla="*/ 3 h 405"/>
                <a:gd name="T6" fmla="*/ 175 w 460"/>
                <a:gd name="T7" fmla="*/ 21 h 405"/>
                <a:gd name="T8" fmla="*/ 107 w 460"/>
                <a:gd name="T9" fmla="*/ 59 h 405"/>
                <a:gd name="T10" fmla="*/ 28 w 460"/>
                <a:gd name="T11" fmla="*/ 137 h 405"/>
                <a:gd name="T12" fmla="*/ 12 w 460"/>
                <a:gd name="T13" fmla="*/ 248 h 405"/>
                <a:gd name="T14" fmla="*/ 76 w 460"/>
                <a:gd name="T15" fmla="*/ 340 h 405"/>
                <a:gd name="T16" fmla="*/ 186 w 460"/>
                <a:gd name="T17" fmla="*/ 398 h 405"/>
                <a:gd name="T18" fmla="*/ 243 w 460"/>
                <a:gd name="T19" fmla="*/ 404 h 405"/>
                <a:gd name="T20" fmla="*/ 306 w 460"/>
                <a:gd name="T21" fmla="*/ 390 h 405"/>
                <a:gd name="T22" fmla="*/ 416 w 460"/>
                <a:gd name="T23" fmla="*/ 307 h 405"/>
                <a:gd name="T24" fmla="*/ 460 w 460"/>
                <a:gd name="T25" fmla="*/ 179 h 405"/>
                <a:gd name="T26" fmla="*/ 456 w 460"/>
                <a:gd name="T27" fmla="*/ 144 h 405"/>
                <a:gd name="T28" fmla="*/ 456 w 460"/>
                <a:gd name="T29" fmla="*/ 144 h 405"/>
                <a:gd name="T30" fmla="*/ 423 w 460"/>
                <a:gd name="T31" fmla="*/ 195 h 405"/>
                <a:gd name="T32" fmla="*/ 380 w 460"/>
                <a:gd name="T33" fmla="*/ 297 h 405"/>
                <a:gd name="T34" fmla="*/ 299 w 460"/>
                <a:gd name="T35" fmla="*/ 350 h 405"/>
                <a:gd name="T36" fmla="*/ 240 w 460"/>
                <a:gd name="T37" fmla="*/ 355 h 405"/>
                <a:gd name="T38" fmla="*/ 240 w 460"/>
                <a:gd name="T39" fmla="*/ 355 h 405"/>
                <a:gd name="T40" fmla="*/ 127 w 460"/>
                <a:gd name="T41" fmla="*/ 281 h 405"/>
                <a:gd name="T42" fmla="*/ 95 w 460"/>
                <a:gd name="T43" fmla="*/ 212 h 405"/>
                <a:gd name="T44" fmla="*/ 103 w 460"/>
                <a:gd name="T45" fmla="*/ 167 h 405"/>
                <a:gd name="T46" fmla="*/ 143 w 460"/>
                <a:gd name="T47" fmla="*/ 112 h 405"/>
                <a:gd name="T48" fmla="*/ 186 w 460"/>
                <a:gd name="T49" fmla="*/ 78 h 405"/>
                <a:gd name="T50" fmla="*/ 339 w 460"/>
                <a:gd name="T51" fmla="*/ 66 h 405"/>
                <a:gd name="T52" fmla="*/ 423 w 460"/>
                <a:gd name="T53" fmla="*/ 180 h 405"/>
                <a:gd name="T54" fmla="*/ 423 w 460"/>
                <a:gd name="T55" fmla="*/ 195 h 405"/>
                <a:gd name="T56" fmla="*/ 423 w 460"/>
                <a:gd name="T57" fmla="*/ 195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60" h="405">
                  <a:moveTo>
                    <a:pt x="456" y="144"/>
                  </a:moveTo>
                  <a:cubicBezTo>
                    <a:pt x="447" y="102"/>
                    <a:pt x="423" y="64"/>
                    <a:pt x="389" y="39"/>
                  </a:cubicBezTo>
                  <a:cubicBezTo>
                    <a:pt x="350" y="11"/>
                    <a:pt x="299" y="0"/>
                    <a:pt x="253" y="3"/>
                  </a:cubicBezTo>
                  <a:cubicBezTo>
                    <a:pt x="226" y="5"/>
                    <a:pt x="200" y="11"/>
                    <a:pt x="175" y="21"/>
                  </a:cubicBezTo>
                  <a:cubicBezTo>
                    <a:pt x="151" y="31"/>
                    <a:pt x="129" y="44"/>
                    <a:pt x="107" y="59"/>
                  </a:cubicBezTo>
                  <a:cubicBezTo>
                    <a:pt x="77" y="80"/>
                    <a:pt x="48" y="106"/>
                    <a:pt x="28" y="137"/>
                  </a:cubicBezTo>
                  <a:cubicBezTo>
                    <a:pt x="7" y="171"/>
                    <a:pt x="0" y="210"/>
                    <a:pt x="12" y="248"/>
                  </a:cubicBezTo>
                  <a:cubicBezTo>
                    <a:pt x="23" y="284"/>
                    <a:pt x="48" y="316"/>
                    <a:pt x="76" y="340"/>
                  </a:cubicBezTo>
                  <a:cubicBezTo>
                    <a:pt x="108" y="367"/>
                    <a:pt x="145" y="389"/>
                    <a:pt x="186" y="398"/>
                  </a:cubicBezTo>
                  <a:cubicBezTo>
                    <a:pt x="205" y="403"/>
                    <a:pt x="224" y="405"/>
                    <a:pt x="243" y="404"/>
                  </a:cubicBezTo>
                  <a:cubicBezTo>
                    <a:pt x="264" y="402"/>
                    <a:pt x="286" y="398"/>
                    <a:pt x="306" y="390"/>
                  </a:cubicBezTo>
                  <a:cubicBezTo>
                    <a:pt x="350" y="374"/>
                    <a:pt x="388" y="344"/>
                    <a:pt x="416" y="307"/>
                  </a:cubicBezTo>
                  <a:cubicBezTo>
                    <a:pt x="444" y="270"/>
                    <a:pt x="460" y="225"/>
                    <a:pt x="460" y="179"/>
                  </a:cubicBezTo>
                  <a:cubicBezTo>
                    <a:pt x="460" y="167"/>
                    <a:pt x="459" y="155"/>
                    <a:pt x="456" y="144"/>
                  </a:cubicBezTo>
                  <a:cubicBezTo>
                    <a:pt x="453" y="127"/>
                    <a:pt x="460" y="160"/>
                    <a:pt x="456" y="144"/>
                  </a:cubicBezTo>
                  <a:close/>
                  <a:moveTo>
                    <a:pt x="423" y="195"/>
                  </a:moveTo>
                  <a:cubicBezTo>
                    <a:pt x="422" y="232"/>
                    <a:pt x="404" y="270"/>
                    <a:pt x="380" y="297"/>
                  </a:cubicBezTo>
                  <a:cubicBezTo>
                    <a:pt x="358" y="322"/>
                    <a:pt x="330" y="340"/>
                    <a:pt x="299" y="350"/>
                  </a:cubicBezTo>
                  <a:cubicBezTo>
                    <a:pt x="280" y="356"/>
                    <a:pt x="260" y="357"/>
                    <a:pt x="240" y="355"/>
                  </a:cubicBezTo>
                  <a:cubicBezTo>
                    <a:pt x="240" y="355"/>
                    <a:pt x="240" y="355"/>
                    <a:pt x="240" y="355"/>
                  </a:cubicBezTo>
                  <a:cubicBezTo>
                    <a:pt x="193" y="349"/>
                    <a:pt x="156" y="317"/>
                    <a:pt x="127" y="281"/>
                  </a:cubicBezTo>
                  <a:cubicBezTo>
                    <a:pt x="111" y="262"/>
                    <a:pt x="98" y="238"/>
                    <a:pt x="95" y="212"/>
                  </a:cubicBezTo>
                  <a:cubicBezTo>
                    <a:pt x="94" y="197"/>
                    <a:pt x="97" y="181"/>
                    <a:pt x="103" y="167"/>
                  </a:cubicBezTo>
                  <a:cubicBezTo>
                    <a:pt x="112" y="146"/>
                    <a:pt x="127" y="128"/>
                    <a:pt x="143" y="112"/>
                  </a:cubicBezTo>
                  <a:cubicBezTo>
                    <a:pt x="156" y="99"/>
                    <a:pt x="170" y="87"/>
                    <a:pt x="186" y="78"/>
                  </a:cubicBezTo>
                  <a:cubicBezTo>
                    <a:pt x="232" y="51"/>
                    <a:pt x="289" y="46"/>
                    <a:pt x="339" y="66"/>
                  </a:cubicBezTo>
                  <a:cubicBezTo>
                    <a:pt x="385" y="85"/>
                    <a:pt x="421" y="129"/>
                    <a:pt x="423" y="180"/>
                  </a:cubicBezTo>
                  <a:cubicBezTo>
                    <a:pt x="423" y="185"/>
                    <a:pt x="423" y="190"/>
                    <a:pt x="423" y="195"/>
                  </a:cubicBezTo>
                  <a:cubicBezTo>
                    <a:pt x="423" y="197"/>
                    <a:pt x="423" y="194"/>
                    <a:pt x="423" y="195"/>
                  </a:cubicBezTo>
                  <a:close/>
                </a:path>
              </a:pathLst>
            </a:custGeom>
            <a:solidFill>
              <a:srgbClr val="FFFFFF">
                <a:alpha val="3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Freeform 88">
              <a:extLst>
                <a:ext uri="{FF2B5EF4-FFF2-40B4-BE49-F238E27FC236}">
                  <a16:creationId xmlns:a16="http://schemas.microsoft.com/office/drawing/2014/main" id="{215AFF9A-3531-23DC-4F0D-B521FBC96C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64300" y="-77012"/>
              <a:ext cx="12148525" cy="10716021"/>
            </a:xfrm>
            <a:custGeom>
              <a:avLst/>
              <a:gdLst>
                <a:gd name="T0" fmla="*/ 456 w 460"/>
                <a:gd name="T1" fmla="*/ 144 h 405"/>
                <a:gd name="T2" fmla="*/ 389 w 460"/>
                <a:gd name="T3" fmla="*/ 39 h 405"/>
                <a:gd name="T4" fmla="*/ 253 w 460"/>
                <a:gd name="T5" fmla="*/ 3 h 405"/>
                <a:gd name="T6" fmla="*/ 175 w 460"/>
                <a:gd name="T7" fmla="*/ 21 h 405"/>
                <a:gd name="T8" fmla="*/ 107 w 460"/>
                <a:gd name="T9" fmla="*/ 59 h 405"/>
                <a:gd name="T10" fmla="*/ 28 w 460"/>
                <a:gd name="T11" fmla="*/ 137 h 405"/>
                <a:gd name="T12" fmla="*/ 12 w 460"/>
                <a:gd name="T13" fmla="*/ 248 h 405"/>
                <a:gd name="T14" fmla="*/ 76 w 460"/>
                <a:gd name="T15" fmla="*/ 340 h 405"/>
                <a:gd name="T16" fmla="*/ 186 w 460"/>
                <a:gd name="T17" fmla="*/ 398 h 405"/>
                <a:gd name="T18" fmla="*/ 243 w 460"/>
                <a:gd name="T19" fmla="*/ 404 h 405"/>
                <a:gd name="T20" fmla="*/ 306 w 460"/>
                <a:gd name="T21" fmla="*/ 390 h 405"/>
                <a:gd name="T22" fmla="*/ 416 w 460"/>
                <a:gd name="T23" fmla="*/ 307 h 405"/>
                <a:gd name="T24" fmla="*/ 460 w 460"/>
                <a:gd name="T25" fmla="*/ 179 h 405"/>
                <a:gd name="T26" fmla="*/ 456 w 460"/>
                <a:gd name="T27" fmla="*/ 144 h 405"/>
                <a:gd name="T28" fmla="*/ 456 w 460"/>
                <a:gd name="T29" fmla="*/ 144 h 405"/>
                <a:gd name="T30" fmla="*/ 423 w 460"/>
                <a:gd name="T31" fmla="*/ 195 h 405"/>
                <a:gd name="T32" fmla="*/ 380 w 460"/>
                <a:gd name="T33" fmla="*/ 297 h 405"/>
                <a:gd name="T34" fmla="*/ 299 w 460"/>
                <a:gd name="T35" fmla="*/ 350 h 405"/>
                <a:gd name="T36" fmla="*/ 240 w 460"/>
                <a:gd name="T37" fmla="*/ 355 h 405"/>
                <a:gd name="T38" fmla="*/ 240 w 460"/>
                <a:gd name="T39" fmla="*/ 355 h 405"/>
                <a:gd name="T40" fmla="*/ 127 w 460"/>
                <a:gd name="T41" fmla="*/ 281 h 405"/>
                <a:gd name="T42" fmla="*/ 95 w 460"/>
                <a:gd name="T43" fmla="*/ 212 h 405"/>
                <a:gd name="T44" fmla="*/ 103 w 460"/>
                <a:gd name="T45" fmla="*/ 167 h 405"/>
                <a:gd name="T46" fmla="*/ 143 w 460"/>
                <a:gd name="T47" fmla="*/ 112 h 405"/>
                <a:gd name="T48" fmla="*/ 186 w 460"/>
                <a:gd name="T49" fmla="*/ 78 h 405"/>
                <a:gd name="T50" fmla="*/ 339 w 460"/>
                <a:gd name="T51" fmla="*/ 66 h 405"/>
                <a:gd name="T52" fmla="*/ 423 w 460"/>
                <a:gd name="T53" fmla="*/ 180 h 405"/>
                <a:gd name="T54" fmla="*/ 423 w 460"/>
                <a:gd name="T55" fmla="*/ 195 h 405"/>
                <a:gd name="T56" fmla="*/ 423 w 460"/>
                <a:gd name="T57" fmla="*/ 195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60" h="405">
                  <a:moveTo>
                    <a:pt x="456" y="144"/>
                  </a:moveTo>
                  <a:cubicBezTo>
                    <a:pt x="447" y="102"/>
                    <a:pt x="423" y="64"/>
                    <a:pt x="389" y="39"/>
                  </a:cubicBezTo>
                  <a:cubicBezTo>
                    <a:pt x="350" y="11"/>
                    <a:pt x="299" y="0"/>
                    <a:pt x="253" y="3"/>
                  </a:cubicBezTo>
                  <a:cubicBezTo>
                    <a:pt x="226" y="5"/>
                    <a:pt x="200" y="11"/>
                    <a:pt x="175" y="21"/>
                  </a:cubicBezTo>
                  <a:cubicBezTo>
                    <a:pt x="151" y="31"/>
                    <a:pt x="129" y="44"/>
                    <a:pt x="107" y="59"/>
                  </a:cubicBezTo>
                  <a:cubicBezTo>
                    <a:pt x="77" y="80"/>
                    <a:pt x="48" y="106"/>
                    <a:pt x="28" y="137"/>
                  </a:cubicBezTo>
                  <a:cubicBezTo>
                    <a:pt x="7" y="171"/>
                    <a:pt x="0" y="210"/>
                    <a:pt x="12" y="248"/>
                  </a:cubicBezTo>
                  <a:cubicBezTo>
                    <a:pt x="23" y="284"/>
                    <a:pt x="48" y="316"/>
                    <a:pt x="76" y="340"/>
                  </a:cubicBezTo>
                  <a:cubicBezTo>
                    <a:pt x="108" y="367"/>
                    <a:pt x="145" y="389"/>
                    <a:pt x="186" y="398"/>
                  </a:cubicBezTo>
                  <a:cubicBezTo>
                    <a:pt x="205" y="403"/>
                    <a:pt x="224" y="405"/>
                    <a:pt x="243" y="404"/>
                  </a:cubicBezTo>
                  <a:cubicBezTo>
                    <a:pt x="264" y="402"/>
                    <a:pt x="286" y="398"/>
                    <a:pt x="306" y="390"/>
                  </a:cubicBezTo>
                  <a:cubicBezTo>
                    <a:pt x="350" y="374"/>
                    <a:pt x="388" y="344"/>
                    <a:pt x="416" y="307"/>
                  </a:cubicBezTo>
                  <a:cubicBezTo>
                    <a:pt x="444" y="270"/>
                    <a:pt x="460" y="225"/>
                    <a:pt x="460" y="179"/>
                  </a:cubicBezTo>
                  <a:cubicBezTo>
                    <a:pt x="460" y="167"/>
                    <a:pt x="459" y="155"/>
                    <a:pt x="456" y="144"/>
                  </a:cubicBezTo>
                  <a:cubicBezTo>
                    <a:pt x="453" y="127"/>
                    <a:pt x="460" y="160"/>
                    <a:pt x="456" y="144"/>
                  </a:cubicBezTo>
                  <a:close/>
                  <a:moveTo>
                    <a:pt x="423" y="195"/>
                  </a:moveTo>
                  <a:cubicBezTo>
                    <a:pt x="422" y="232"/>
                    <a:pt x="404" y="270"/>
                    <a:pt x="380" y="297"/>
                  </a:cubicBezTo>
                  <a:cubicBezTo>
                    <a:pt x="358" y="322"/>
                    <a:pt x="330" y="340"/>
                    <a:pt x="299" y="350"/>
                  </a:cubicBezTo>
                  <a:cubicBezTo>
                    <a:pt x="280" y="356"/>
                    <a:pt x="260" y="357"/>
                    <a:pt x="240" y="355"/>
                  </a:cubicBezTo>
                  <a:cubicBezTo>
                    <a:pt x="240" y="355"/>
                    <a:pt x="240" y="355"/>
                    <a:pt x="240" y="355"/>
                  </a:cubicBezTo>
                  <a:cubicBezTo>
                    <a:pt x="193" y="349"/>
                    <a:pt x="156" y="317"/>
                    <a:pt x="127" y="281"/>
                  </a:cubicBezTo>
                  <a:cubicBezTo>
                    <a:pt x="111" y="262"/>
                    <a:pt x="98" y="238"/>
                    <a:pt x="95" y="212"/>
                  </a:cubicBezTo>
                  <a:cubicBezTo>
                    <a:pt x="94" y="197"/>
                    <a:pt x="97" y="181"/>
                    <a:pt x="103" y="167"/>
                  </a:cubicBezTo>
                  <a:cubicBezTo>
                    <a:pt x="112" y="146"/>
                    <a:pt x="127" y="128"/>
                    <a:pt x="143" y="112"/>
                  </a:cubicBezTo>
                  <a:cubicBezTo>
                    <a:pt x="156" y="99"/>
                    <a:pt x="170" y="87"/>
                    <a:pt x="186" y="78"/>
                  </a:cubicBezTo>
                  <a:cubicBezTo>
                    <a:pt x="232" y="51"/>
                    <a:pt x="289" y="46"/>
                    <a:pt x="339" y="66"/>
                  </a:cubicBezTo>
                  <a:cubicBezTo>
                    <a:pt x="385" y="85"/>
                    <a:pt x="421" y="129"/>
                    <a:pt x="423" y="180"/>
                  </a:cubicBezTo>
                  <a:cubicBezTo>
                    <a:pt x="423" y="185"/>
                    <a:pt x="423" y="190"/>
                    <a:pt x="423" y="195"/>
                  </a:cubicBezTo>
                  <a:cubicBezTo>
                    <a:pt x="423" y="197"/>
                    <a:pt x="423" y="194"/>
                    <a:pt x="423" y="195"/>
                  </a:cubicBezTo>
                  <a:close/>
                </a:path>
              </a:pathLst>
            </a:custGeom>
            <a:solidFill>
              <a:srgbClr val="FFFFFF">
                <a:alpha val="6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21959056-1400-9FB0-0389-7345011A3889}"/>
              </a:ext>
            </a:extLst>
          </p:cNvPr>
          <p:cNvGrpSpPr/>
          <p:nvPr userDrawn="1"/>
        </p:nvGrpSpPr>
        <p:grpSpPr>
          <a:xfrm>
            <a:off x="-3380338" y="-3941530"/>
            <a:ext cx="15412825" cy="16074031"/>
            <a:chOff x="0" y="-77012"/>
            <a:chExt cx="15412825" cy="16074031"/>
          </a:xfrm>
        </p:grpSpPr>
        <p:grpSp>
          <p:nvGrpSpPr>
            <p:cNvPr id="46" name="Group 84">
              <a:extLst>
                <a:ext uri="{FF2B5EF4-FFF2-40B4-BE49-F238E27FC236}">
                  <a16:creationId xmlns:a16="http://schemas.microsoft.com/office/drawing/2014/main" id="{B5A758FE-5AE3-E743-7EB5-B201734AEF6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0" y="5280998"/>
              <a:ext cx="12148525" cy="10716021"/>
              <a:chOff x="3286" y="1675"/>
              <a:chExt cx="1094" cy="965"/>
            </a:xfrm>
            <a:solidFill>
              <a:srgbClr val="FFFFFF">
                <a:alpha val="3000"/>
              </a:srgbClr>
            </a:solidFill>
          </p:grpSpPr>
          <p:sp>
            <p:nvSpPr>
              <p:cNvPr id="49" name="Freeform 85">
                <a:extLst>
                  <a:ext uri="{FF2B5EF4-FFF2-40B4-BE49-F238E27FC236}">
                    <a16:creationId xmlns:a16="http://schemas.microsoft.com/office/drawing/2014/main" id="{19B25EDD-FA01-1240-728F-A972414B3D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84" y="1685"/>
                <a:ext cx="910" cy="838"/>
              </a:xfrm>
              <a:custGeom>
                <a:avLst/>
                <a:gdLst>
                  <a:gd name="T0" fmla="*/ 233 w 383"/>
                  <a:gd name="T1" fmla="*/ 49 h 352"/>
                  <a:gd name="T2" fmla="*/ 212 w 383"/>
                  <a:gd name="T3" fmla="*/ 51 h 352"/>
                  <a:gd name="T4" fmla="*/ 151 w 383"/>
                  <a:gd name="T5" fmla="*/ 70 h 352"/>
                  <a:gd name="T6" fmla="*/ 187 w 383"/>
                  <a:gd name="T7" fmla="*/ 66 h 352"/>
                  <a:gd name="T8" fmla="*/ 189 w 383"/>
                  <a:gd name="T9" fmla="*/ 66 h 352"/>
                  <a:gd name="T10" fmla="*/ 198 w 383"/>
                  <a:gd name="T11" fmla="*/ 67 h 352"/>
                  <a:gd name="T12" fmla="*/ 225 w 383"/>
                  <a:gd name="T13" fmla="*/ 74 h 352"/>
                  <a:gd name="T14" fmla="*/ 270 w 383"/>
                  <a:gd name="T15" fmla="*/ 102 h 352"/>
                  <a:gd name="T16" fmla="*/ 319 w 383"/>
                  <a:gd name="T17" fmla="*/ 164 h 352"/>
                  <a:gd name="T18" fmla="*/ 328 w 383"/>
                  <a:gd name="T19" fmla="*/ 202 h 352"/>
                  <a:gd name="T20" fmla="*/ 328 w 383"/>
                  <a:gd name="T21" fmla="*/ 201 h 352"/>
                  <a:gd name="T22" fmla="*/ 303 w 383"/>
                  <a:gd name="T23" fmla="*/ 278 h 352"/>
                  <a:gd name="T24" fmla="*/ 245 w 383"/>
                  <a:gd name="T25" fmla="*/ 333 h 352"/>
                  <a:gd name="T26" fmla="*/ 192 w 383"/>
                  <a:gd name="T27" fmla="*/ 350 h 352"/>
                  <a:gd name="T28" fmla="*/ 199 w 383"/>
                  <a:gd name="T29" fmla="*/ 351 h 352"/>
                  <a:gd name="T30" fmla="*/ 199 w 383"/>
                  <a:gd name="T31" fmla="*/ 351 h 352"/>
                  <a:gd name="T32" fmla="*/ 215 w 383"/>
                  <a:gd name="T33" fmla="*/ 352 h 352"/>
                  <a:gd name="T34" fmla="*/ 253 w 383"/>
                  <a:gd name="T35" fmla="*/ 347 h 352"/>
                  <a:gd name="T36" fmla="*/ 306 w 383"/>
                  <a:gd name="T37" fmla="*/ 322 h 352"/>
                  <a:gd name="T38" fmla="*/ 371 w 383"/>
                  <a:gd name="T39" fmla="*/ 241 h 352"/>
                  <a:gd name="T40" fmla="*/ 382 w 383"/>
                  <a:gd name="T41" fmla="*/ 183 h 352"/>
                  <a:gd name="T42" fmla="*/ 382 w 383"/>
                  <a:gd name="T43" fmla="*/ 183 h 352"/>
                  <a:gd name="T44" fmla="*/ 382 w 383"/>
                  <a:gd name="T45" fmla="*/ 183 h 352"/>
                  <a:gd name="T46" fmla="*/ 382 w 383"/>
                  <a:gd name="T47" fmla="*/ 183 h 352"/>
                  <a:gd name="T48" fmla="*/ 382 w 383"/>
                  <a:gd name="T49" fmla="*/ 183 h 352"/>
                  <a:gd name="T50" fmla="*/ 332 w 383"/>
                  <a:gd name="T51" fmla="*/ 82 h 352"/>
                  <a:gd name="T52" fmla="*/ 233 w 383"/>
                  <a:gd name="T53" fmla="*/ 49 h 352"/>
                  <a:gd name="T54" fmla="*/ 382 w 383"/>
                  <a:gd name="T55" fmla="*/ 180 h 352"/>
                  <a:gd name="T56" fmla="*/ 382 w 383"/>
                  <a:gd name="T57" fmla="*/ 183 h 352"/>
                  <a:gd name="T58" fmla="*/ 382 w 383"/>
                  <a:gd name="T59" fmla="*/ 183 h 352"/>
                  <a:gd name="T60" fmla="*/ 382 w 383"/>
                  <a:gd name="T61" fmla="*/ 183 h 352"/>
                  <a:gd name="T62" fmla="*/ 382 w 383"/>
                  <a:gd name="T63" fmla="*/ 184 h 352"/>
                  <a:gd name="T64" fmla="*/ 382 w 383"/>
                  <a:gd name="T65" fmla="*/ 182 h 352"/>
                  <a:gd name="T66" fmla="*/ 382 w 383"/>
                  <a:gd name="T67" fmla="*/ 180 h 352"/>
                  <a:gd name="T68" fmla="*/ 207 w 383"/>
                  <a:gd name="T69" fmla="*/ 0 h 352"/>
                  <a:gd name="T70" fmla="*/ 200 w 383"/>
                  <a:gd name="T71" fmla="*/ 0 h 352"/>
                  <a:gd name="T72" fmla="*/ 200 w 383"/>
                  <a:gd name="T73" fmla="*/ 0 h 352"/>
                  <a:gd name="T74" fmla="*/ 200 w 383"/>
                  <a:gd name="T75" fmla="*/ 0 h 352"/>
                  <a:gd name="T76" fmla="*/ 199 w 383"/>
                  <a:gd name="T77" fmla="*/ 0 h 352"/>
                  <a:gd name="T78" fmla="*/ 30 w 383"/>
                  <a:gd name="T79" fmla="*/ 80 h 352"/>
                  <a:gd name="T80" fmla="*/ 0 w 383"/>
                  <a:gd name="T81" fmla="*/ 115 h 352"/>
                  <a:gd name="T82" fmla="*/ 59 w 383"/>
                  <a:gd name="T83" fmla="*/ 60 h 352"/>
                  <a:gd name="T84" fmla="*/ 143 w 383"/>
                  <a:gd name="T85" fmla="*/ 14 h 352"/>
                  <a:gd name="T86" fmla="*/ 207 w 383"/>
                  <a:gd name="T87" fmla="*/ 0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83" h="352">
                    <a:moveTo>
                      <a:pt x="233" y="49"/>
                    </a:moveTo>
                    <a:cubicBezTo>
                      <a:pt x="226" y="49"/>
                      <a:pt x="219" y="50"/>
                      <a:pt x="212" y="51"/>
                    </a:cubicBezTo>
                    <a:cubicBezTo>
                      <a:pt x="191" y="53"/>
                      <a:pt x="170" y="60"/>
                      <a:pt x="151" y="70"/>
                    </a:cubicBezTo>
                    <a:cubicBezTo>
                      <a:pt x="163" y="67"/>
                      <a:pt x="175" y="66"/>
                      <a:pt x="187" y="66"/>
                    </a:cubicBezTo>
                    <a:cubicBezTo>
                      <a:pt x="185" y="66"/>
                      <a:pt x="188" y="66"/>
                      <a:pt x="189" y="66"/>
                    </a:cubicBezTo>
                    <a:cubicBezTo>
                      <a:pt x="192" y="66"/>
                      <a:pt x="195" y="67"/>
                      <a:pt x="198" y="67"/>
                    </a:cubicBezTo>
                    <a:cubicBezTo>
                      <a:pt x="207" y="68"/>
                      <a:pt x="216" y="71"/>
                      <a:pt x="225" y="74"/>
                    </a:cubicBezTo>
                    <a:cubicBezTo>
                      <a:pt x="242" y="81"/>
                      <a:pt x="257" y="91"/>
                      <a:pt x="270" y="102"/>
                    </a:cubicBezTo>
                    <a:cubicBezTo>
                      <a:pt x="291" y="119"/>
                      <a:pt x="309" y="139"/>
                      <a:pt x="319" y="164"/>
                    </a:cubicBezTo>
                    <a:cubicBezTo>
                      <a:pt x="325" y="176"/>
                      <a:pt x="327" y="189"/>
                      <a:pt x="328" y="202"/>
                    </a:cubicBezTo>
                    <a:cubicBezTo>
                      <a:pt x="328" y="201"/>
                      <a:pt x="328" y="201"/>
                      <a:pt x="328" y="201"/>
                    </a:cubicBezTo>
                    <a:cubicBezTo>
                      <a:pt x="328" y="229"/>
                      <a:pt x="318" y="255"/>
                      <a:pt x="303" y="278"/>
                    </a:cubicBezTo>
                    <a:cubicBezTo>
                      <a:pt x="287" y="300"/>
                      <a:pt x="268" y="319"/>
                      <a:pt x="245" y="333"/>
                    </a:cubicBezTo>
                    <a:cubicBezTo>
                      <a:pt x="229" y="342"/>
                      <a:pt x="211" y="348"/>
                      <a:pt x="192" y="350"/>
                    </a:cubicBezTo>
                    <a:cubicBezTo>
                      <a:pt x="194" y="351"/>
                      <a:pt x="197" y="351"/>
                      <a:pt x="199" y="351"/>
                    </a:cubicBezTo>
                    <a:cubicBezTo>
                      <a:pt x="199" y="351"/>
                      <a:pt x="199" y="351"/>
                      <a:pt x="199" y="351"/>
                    </a:cubicBezTo>
                    <a:cubicBezTo>
                      <a:pt x="204" y="352"/>
                      <a:pt x="210" y="352"/>
                      <a:pt x="215" y="352"/>
                    </a:cubicBezTo>
                    <a:cubicBezTo>
                      <a:pt x="227" y="352"/>
                      <a:pt x="240" y="351"/>
                      <a:pt x="253" y="347"/>
                    </a:cubicBezTo>
                    <a:cubicBezTo>
                      <a:pt x="272" y="342"/>
                      <a:pt x="290" y="333"/>
                      <a:pt x="306" y="322"/>
                    </a:cubicBezTo>
                    <a:cubicBezTo>
                      <a:pt x="335" y="302"/>
                      <a:pt x="358" y="273"/>
                      <a:pt x="371" y="241"/>
                    </a:cubicBezTo>
                    <a:cubicBezTo>
                      <a:pt x="378" y="223"/>
                      <a:pt x="383" y="202"/>
                      <a:pt x="382" y="183"/>
                    </a:cubicBezTo>
                    <a:cubicBezTo>
                      <a:pt x="382" y="183"/>
                      <a:pt x="382" y="183"/>
                      <a:pt x="382" y="183"/>
                    </a:cubicBezTo>
                    <a:cubicBezTo>
                      <a:pt x="382" y="183"/>
                      <a:pt x="382" y="183"/>
                      <a:pt x="382" y="183"/>
                    </a:cubicBezTo>
                    <a:cubicBezTo>
                      <a:pt x="382" y="183"/>
                      <a:pt x="382" y="183"/>
                      <a:pt x="382" y="183"/>
                    </a:cubicBezTo>
                    <a:cubicBezTo>
                      <a:pt x="382" y="183"/>
                      <a:pt x="382" y="183"/>
                      <a:pt x="382" y="183"/>
                    </a:cubicBezTo>
                    <a:cubicBezTo>
                      <a:pt x="383" y="143"/>
                      <a:pt x="362" y="106"/>
                      <a:pt x="332" y="82"/>
                    </a:cubicBezTo>
                    <a:cubicBezTo>
                      <a:pt x="304" y="60"/>
                      <a:pt x="268" y="49"/>
                      <a:pt x="233" y="49"/>
                    </a:cubicBezTo>
                    <a:moveTo>
                      <a:pt x="382" y="180"/>
                    </a:moveTo>
                    <a:cubicBezTo>
                      <a:pt x="382" y="180"/>
                      <a:pt x="382" y="181"/>
                      <a:pt x="382" y="183"/>
                    </a:cubicBezTo>
                    <a:cubicBezTo>
                      <a:pt x="382" y="183"/>
                      <a:pt x="382" y="183"/>
                      <a:pt x="382" y="183"/>
                    </a:cubicBezTo>
                    <a:cubicBezTo>
                      <a:pt x="382" y="183"/>
                      <a:pt x="382" y="183"/>
                      <a:pt x="382" y="183"/>
                    </a:cubicBezTo>
                    <a:cubicBezTo>
                      <a:pt x="382" y="183"/>
                      <a:pt x="382" y="184"/>
                      <a:pt x="382" y="184"/>
                    </a:cubicBezTo>
                    <a:cubicBezTo>
                      <a:pt x="382" y="184"/>
                      <a:pt x="382" y="183"/>
                      <a:pt x="382" y="182"/>
                    </a:cubicBezTo>
                    <a:cubicBezTo>
                      <a:pt x="382" y="181"/>
                      <a:pt x="382" y="180"/>
                      <a:pt x="382" y="180"/>
                    </a:cubicBezTo>
                    <a:moveTo>
                      <a:pt x="207" y="0"/>
                    </a:moveTo>
                    <a:cubicBezTo>
                      <a:pt x="204" y="0"/>
                      <a:pt x="202" y="0"/>
                      <a:pt x="200" y="0"/>
                    </a:cubicBezTo>
                    <a:cubicBezTo>
                      <a:pt x="200" y="0"/>
                      <a:pt x="200" y="0"/>
                      <a:pt x="200" y="0"/>
                    </a:cubicBezTo>
                    <a:cubicBezTo>
                      <a:pt x="200" y="0"/>
                      <a:pt x="200" y="0"/>
                      <a:pt x="200" y="0"/>
                    </a:cubicBezTo>
                    <a:cubicBezTo>
                      <a:pt x="200" y="0"/>
                      <a:pt x="199" y="0"/>
                      <a:pt x="199" y="0"/>
                    </a:cubicBezTo>
                    <a:cubicBezTo>
                      <a:pt x="136" y="6"/>
                      <a:pt x="75" y="36"/>
                      <a:pt x="30" y="80"/>
                    </a:cubicBezTo>
                    <a:cubicBezTo>
                      <a:pt x="19" y="91"/>
                      <a:pt x="9" y="102"/>
                      <a:pt x="0" y="115"/>
                    </a:cubicBezTo>
                    <a:cubicBezTo>
                      <a:pt x="17" y="94"/>
                      <a:pt x="37" y="76"/>
                      <a:pt x="59" y="60"/>
                    </a:cubicBezTo>
                    <a:cubicBezTo>
                      <a:pt x="85" y="41"/>
                      <a:pt x="113" y="24"/>
                      <a:pt x="143" y="14"/>
                    </a:cubicBezTo>
                    <a:cubicBezTo>
                      <a:pt x="164" y="6"/>
                      <a:pt x="185" y="1"/>
                      <a:pt x="207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" name="Freeform 86">
                <a:extLst>
                  <a:ext uri="{FF2B5EF4-FFF2-40B4-BE49-F238E27FC236}">
                    <a16:creationId xmlns:a16="http://schemas.microsoft.com/office/drawing/2014/main" id="{6040DAFD-EE45-11FC-0BA3-CB898D4882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47" y="2425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close/>
                    <a:moveTo>
                      <a:pt x="0" y="0"/>
                    </a:move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" name="Freeform 87">
                <a:extLst>
                  <a:ext uri="{FF2B5EF4-FFF2-40B4-BE49-F238E27FC236}">
                    <a16:creationId xmlns:a16="http://schemas.microsoft.com/office/drawing/2014/main" id="{D749FC4B-9164-FA57-1480-B959EAFC4E0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47" y="2425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moveTo>
                      <a:pt x="0" y="0"/>
                    </a:moveTo>
                    <a:lnTo>
                      <a:pt x="0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" name="Freeform 88">
                <a:extLst>
                  <a:ext uri="{FF2B5EF4-FFF2-40B4-BE49-F238E27FC236}">
                    <a16:creationId xmlns:a16="http://schemas.microsoft.com/office/drawing/2014/main" id="{77BECE0A-ED98-DBAC-1C6B-B7AF7F4BD6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86" y="1675"/>
                <a:ext cx="1094" cy="965"/>
              </a:xfrm>
              <a:custGeom>
                <a:avLst/>
                <a:gdLst>
                  <a:gd name="T0" fmla="*/ 456 w 460"/>
                  <a:gd name="T1" fmla="*/ 144 h 405"/>
                  <a:gd name="T2" fmla="*/ 389 w 460"/>
                  <a:gd name="T3" fmla="*/ 39 h 405"/>
                  <a:gd name="T4" fmla="*/ 253 w 460"/>
                  <a:gd name="T5" fmla="*/ 3 h 405"/>
                  <a:gd name="T6" fmla="*/ 175 w 460"/>
                  <a:gd name="T7" fmla="*/ 21 h 405"/>
                  <a:gd name="T8" fmla="*/ 107 w 460"/>
                  <a:gd name="T9" fmla="*/ 59 h 405"/>
                  <a:gd name="T10" fmla="*/ 28 w 460"/>
                  <a:gd name="T11" fmla="*/ 137 h 405"/>
                  <a:gd name="T12" fmla="*/ 12 w 460"/>
                  <a:gd name="T13" fmla="*/ 248 h 405"/>
                  <a:gd name="T14" fmla="*/ 76 w 460"/>
                  <a:gd name="T15" fmla="*/ 340 h 405"/>
                  <a:gd name="T16" fmla="*/ 186 w 460"/>
                  <a:gd name="T17" fmla="*/ 398 h 405"/>
                  <a:gd name="T18" fmla="*/ 243 w 460"/>
                  <a:gd name="T19" fmla="*/ 404 h 405"/>
                  <a:gd name="T20" fmla="*/ 306 w 460"/>
                  <a:gd name="T21" fmla="*/ 390 h 405"/>
                  <a:gd name="T22" fmla="*/ 416 w 460"/>
                  <a:gd name="T23" fmla="*/ 307 h 405"/>
                  <a:gd name="T24" fmla="*/ 460 w 460"/>
                  <a:gd name="T25" fmla="*/ 179 h 405"/>
                  <a:gd name="T26" fmla="*/ 456 w 460"/>
                  <a:gd name="T27" fmla="*/ 144 h 405"/>
                  <a:gd name="T28" fmla="*/ 456 w 460"/>
                  <a:gd name="T29" fmla="*/ 144 h 405"/>
                  <a:gd name="T30" fmla="*/ 423 w 460"/>
                  <a:gd name="T31" fmla="*/ 195 h 405"/>
                  <a:gd name="T32" fmla="*/ 380 w 460"/>
                  <a:gd name="T33" fmla="*/ 297 h 405"/>
                  <a:gd name="T34" fmla="*/ 299 w 460"/>
                  <a:gd name="T35" fmla="*/ 350 h 405"/>
                  <a:gd name="T36" fmla="*/ 240 w 460"/>
                  <a:gd name="T37" fmla="*/ 355 h 405"/>
                  <a:gd name="T38" fmla="*/ 240 w 460"/>
                  <a:gd name="T39" fmla="*/ 355 h 405"/>
                  <a:gd name="T40" fmla="*/ 127 w 460"/>
                  <a:gd name="T41" fmla="*/ 281 h 405"/>
                  <a:gd name="T42" fmla="*/ 95 w 460"/>
                  <a:gd name="T43" fmla="*/ 212 h 405"/>
                  <a:gd name="T44" fmla="*/ 103 w 460"/>
                  <a:gd name="T45" fmla="*/ 167 h 405"/>
                  <a:gd name="T46" fmla="*/ 143 w 460"/>
                  <a:gd name="T47" fmla="*/ 112 h 405"/>
                  <a:gd name="T48" fmla="*/ 186 w 460"/>
                  <a:gd name="T49" fmla="*/ 78 h 405"/>
                  <a:gd name="T50" fmla="*/ 339 w 460"/>
                  <a:gd name="T51" fmla="*/ 66 h 405"/>
                  <a:gd name="T52" fmla="*/ 423 w 460"/>
                  <a:gd name="T53" fmla="*/ 180 h 405"/>
                  <a:gd name="T54" fmla="*/ 423 w 460"/>
                  <a:gd name="T55" fmla="*/ 195 h 405"/>
                  <a:gd name="T56" fmla="*/ 423 w 460"/>
                  <a:gd name="T57" fmla="*/ 195 h 4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60" h="405">
                    <a:moveTo>
                      <a:pt x="456" y="144"/>
                    </a:moveTo>
                    <a:cubicBezTo>
                      <a:pt x="447" y="102"/>
                      <a:pt x="423" y="64"/>
                      <a:pt x="389" y="39"/>
                    </a:cubicBezTo>
                    <a:cubicBezTo>
                      <a:pt x="350" y="11"/>
                      <a:pt x="299" y="0"/>
                      <a:pt x="253" y="3"/>
                    </a:cubicBezTo>
                    <a:cubicBezTo>
                      <a:pt x="226" y="5"/>
                      <a:pt x="200" y="11"/>
                      <a:pt x="175" y="21"/>
                    </a:cubicBezTo>
                    <a:cubicBezTo>
                      <a:pt x="151" y="31"/>
                      <a:pt x="129" y="44"/>
                      <a:pt x="107" y="59"/>
                    </a:cubicBezTo>
                    <a:cubicBezTo>
                      <a:pt x="77" y="80"/>
                      <a:pt x="48" y="106"/>
                      <a:pt x="28" y="137"/>
                    </a:cubicBezTo>
                    <a:cubicBezTo>
                      <a:pt x="7" y="171"/>
                      <a:pt x="0" y="210"/>
                      <a:pt x="12" y="248"/>
                    </a:cubicBezTo>
                    <a:cubicBezTo>
                      <a:pt x="23" y="284"/>
                      <a:pt x="48" y="316"/>
                      <a:pt x="76" y="340"/>
                    </a:cubicBezTo>
                    <a:cubicBezTo>
                      <a:pt x="108" y="367"/>
                      <a:pt x="145" y="389"/>
                      <a:pt x="186" y="398"/>
                    </a:cubicBezTo>
                    <a:cubicBezTo>
                      <a:pt x="205" y="403"/>
                      <a:pt x="224" y="405"/>
                      <a:pt x="243" y="404"/>
                    </a:cubicBezTo>
                    <a:cubicBezTo>
                      <a:pt x="264" y="402"/>
                      <a:pt x="286" y="398"/>
                      <a:pt x="306" y="390"/>
                    </a:cubicBezTo>
                    <a:cubicBezTo>
                      <a:pt x="350" y="374"/>
                      <a:pt x="388" y="344"/>
                      <a:pt x="416" y="307"/>
                    </a:cubicBezTo>
                    <a:cubicBezTo>
                      <a:pt x="444" y="270"/>
                      <a:pt x="460" y="225"/>
                      <a:pt x="460" y="179"/>
                    </a:cubicBezTo>
                    <a:cubicBezTo>
                      <a:pt x="460" y="167"/>
                      <a:pt x="459" y="155"/>
                      <a:pt x="456" y="144"/>
                    </a:cubicBezTo>
                    <a:cubicBezTo>
                      <a:pt x="453" y="127"/>
                      <a:pt x="460" y="160"/>
                      <a:pt x="456" y="144"/>
                    </a:cubicBezTo>
                    <a:close/>
                    <a:moveTo>
                      <a:pt x="423" y="195"/>
                    </a:moveTo>
                    <a:cubicBezTo>
                      <a:pt x="422" y="232"/>
                      <a:pt x="404" y="270"/>
                      <a:pt x="380" y="297"/>
                    </a:cubicBezTo>
                    <a:cubicBezTo>
                      <a:pt x="358" y="322"/>
                      <a:pt x="330" y="340"/>
                      <a:pt x="299" y="350"/>
                    </a:cubicBezTo>
                    <a:cubicBezTo>
                      <a:pt x="280" y="356"/>
                      <a:pt x="260" y="357"/>
                      <a:pt x="240" y="355"/>
                    </a:cubicBezTo>
                    <a:cubicBezTo>
                      <a:pt x="240" y="355"/>
                      <a:pt x="240" y="355"/>
                      <a:pt x="240" y="355"/>
                    </a:cubicBezTo>
                    <a:cubicBezTo>
                      <a:pt x="193" y="349"/>
                      <a:pt x="156" y="317"/>
                      <a:pt x="127" y="281"/>
                    </a:cubicBezTo>
                    <a:cubicBezTo>
                      <a:pt x="111" y="262"/>
                      <a:pt x="98" y="238"/>
                      <a:pt x="95" y="212"/>
                    </a:cubicBezTo>
                    <a:cubicBezTo>
                      <a:pt x="94" y="197"/>
                      <a:pt x="97" y="181"/>
                      <a:pt x="103" y="167"/>
                    </a:cubicBezTo>
                    <a:cubicBezTo>
                      <a:pt x="112" y="146"/>
                      <a:pt x="127" y="128"/>
                      <a:pt x="143" y="112"/>
                    </a:cubicBezTo>
                    <a:cubicBezTo>
                      <a:pt x="156" y="99"/>
                      <a:pt x="170" y="87"/>
                      <a:pt x="186" y="78"/>
                    </a:cubicBezTo>
                    <a:cubicBezTo>
                      <a:pt x="232" y="51"/>
                      <a:pt x="289" y="46"/>
                      <a:pt x="339" y="66"/>
                    </a:cubicBezTo>
                    <a:cubicBezTo>
                      <a:pt x="385" y="85"/>
                      <a:pt x="421" y="129"/>
                      <a:pt x="423" y="180"/>
                    </a:cubicBezTo>
                    <a:cubicBezTo>
                      <a:pt x="423" y="185"/>
                      <a:pt x="423" y="190"/>
                      <a:pt x="423" y="195"/>
                    </a:cubicBezTo>
                    <a:cubicBezTo>
                      <a:pt x="423" y="197"/>
                      <a:pt x="423" y="194"/>
                      <a:pt x="423" y="19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7" name="Freeform 88">
              <a:extLst>
                <a:ext uri="{FF2B5EF4-FFF2-40B4-BE49-F238E27FC236}">
                  <a16:creationId xmlns:a16="http://schemas.microsoft.com/office/drawing/2014/main" id="{20EA4CE5-11A2-01AB-A3D6-73D9EAADD0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46032" y="2688184"/>
              <a:ext cx="12148525" cy="10716021"/>
            </a:xfrm>
            <a:custGeom>
              <a:avLst/>
              <a:gdLst>
                <a:gd name="T0" fmla="*/ 456 w 460"/>
                <a:gd name="T1" fmla="*/ 144 h 405"/>
                <a:gd name="T2" fmla="*/ 389 w 460"/>
                <a:gd name="T3" fmla="*/ 39 h 405"/>
                <a:gd name="T4" fmla="*/ 253 w 460"/>
                <a:gd name="T5" fmla="*/ 3 h 405"/>
                <a:gd name="T6" fmla="*/ 175 w 460"/>
                <a:gd name="T7" fmla="*/ 21 h 405"/>
                <a:gd name="T8" fmla="*/ 107 w 460"/>
                <a:gd name="T9" fmla="*/ 59 h 405"/>
                <a:gd name="T10" fmla="*/ 28 w 460"/>
                <a:gd name="T11" fmla="*/ 137 h 405"/>
                <a:gd name="T12" fmla="*/ 12 w 460"/>
                <a:gd name="T13" fmla="*/ 248 h 405"/>
                <a:gd name="T14" fmla="*/ 76 w 460"/>
                <a:gd name="T15" fmla="*/ 340 h 405"/>
                <a:gd name="T16" fmla="*/ 186 w 460"/>
                <a:gd name="T17" fmla="*/ 398 h 405"/>
                <a:gd name="T18" fmla="*/ 243 w 460"/>
                <a:gd name="T19" fmla="*/ 404 h 405"/>
                <a:gd name="T20" fmla="*/ 306 w 460"/>
                <a:gd name="T21" fmla="*/ 390 h 405"/>
                <a:gd name="T22" fmla="*/ 416 w 460"/>
                <a:gd name="T23" fmla="*/ 307 h 405"/>
                <a:gd name="T24" fmla="*/ 460 w 460"/>
                <a:gd name="T25" fmla="*/ 179 h 405"/>
                <a:gd name="T26" fmla="*/ 456 w 460"/>
                <a:gd name="T27" fmla="*/ 144 h 405"/>
                <a:gd name="T28" fmla="*/ 456 w 460"/>
                <a:gd name="T29" fmla="*/ 144 h 405"/>
                <a:gd name="T30" fmla="*/ 423 w 460"/>
                <a:gd name="T31" fmla="*/ 195 h 405"/>
                <a:gd name="T32" fmla="*/ 380 w 460"/>
                <a:gd name="T33" fmla="*/ 297 h 405"/>
                <a:gd name="T34" fmla="*/ 299 w 460"/>
                <a:gd name="T35" fmla="*/ 350 h 405"/>
                <a:gd name="T36" fmla="*/ 240 w 460"/>
                <a:gd name="T37" fmla="*/ 355 h 405"/>
                <a:gd name="T38" fmla="*/ 240 w 460"/>
                <a:gd name="T39" fmla="*/ 355 h 405"/>
                <a:gd name="T40" fmla="*/ 127 w 460"/>
                <a:gd name="T41" fmla="*/ 281 h 405"/>
                <a:gd name="T42" fmla="*/ 95 w 460"/>
                <a:gd name="T43" fmla="*/ 212 h 405"/>
                <a:gd name="T44" fmla="*/ 103 w 460"/>
                <a:gd name="T45" fmla="*/ 167 h 405"/>
                <a:gd name="T46" fmla="*/ 143 w 460"/>
                <a:gd name="T47" fmla="*/ 112 h 405"/>
                <a:gd name="T48" fmla="*/ 186 w 460"/>
                <a:gd name="T49" fmla="*/ 78 h 405"/>
                <a:gd name="T50" fmla="*/ 339 w 460"/>
                <a:gd name="T51" fmla="*/ 66 h 405"/>
                <a:gd name="T52" fmla="*/ 423 w 460"/>
                <a:gd name="T53" fmla="*/ 180 h 405"/>
                <a:gd name="T54" fmla="*/ 423 w 460"/>
                <a:gd name="T55" fmla="*/ 195 h 405"/>
                <a:gd name="T56" fmla="*/ 423 w 460"/>
                <a:gd name="T57" fmla="*/ 195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60" h="405">
                  <a:moveTo>
                    <a:pt x="456" y="144"/>
                  </a:moveTo>
                  <a:cubicBezTo>
                    <a:pt x="447" y="102"/>
                    <a:pt x="423" y="64"/>
                    <a:pt x="389" y="39"/>
                  </a:cubicBezTo>
                  <a:cubicBezTo>
                    <a:pt x="350" y="11"/>
                    <a:pt x="299" y="0"/>
                    <a:pt x="253" y="3"/>
                  </a:cubicBezTo>
                  <a:cubicBezTo>
                    <a:pt x="226" y="5"/>
                    <a:pt x="200" y="11"/>
                    <a:pt x="175" y="21"/>
                  </a:cubicBezTo>
                  <a:cubicBezTo>
                    <a:pt x="151" y="31"/>
                    <a:pt x="129" y="44"/>
                    <a:pt x="107" y="59"/>
                  </a:cubicBezTo>
                  <a:cubicBezTo>
                    <a:pt x="77" y="80"/>
                    <a:pt x="48" y="106"/>
                    <a:pt x="28" y="137"/>
                  </a:cubicBezTo>
                  <a:cubicBezTo>
                    <a:pt x="7" y="171"/>
                    <a:pt x="0" y="210"/>
                    <a:pt x="12" y="248"/>
                  </a:cubicBezTo>
                  <a:cubicBezTo>
                    <a:pt x="23" y="284"/>
                    <a:pt x="48" y="316"/>
                    <a:pt x="76" y="340"/>
                  </a:cubicBezTo>
                  <a:cubicBezTo>
                    <a:pt x="108" y="367"/>
                    <a:pt x="145" y="389"/>
                    <a:pt x="186" y="398"/>
                  </a:cubicBezTo>
                  <a:cubicBezTo>
                    <a:pt x="205" y="403"/>
                    <a:pt x="224" y="405"/>
                    <a:pt x="243" y="404"/>
                  </a:cubicBezTo>
                  <a:cubicBezTo>
                    <a:pt x="264" y="402"/>
                    <a:pt x="286" y="398"/>
                    <a:pt x="306" y="390"/>
                  </a:cubicBezTo>
                  <a:cubicBezTo>
                    <a:pt x="350" y="374"/>
                    <a:pt x="388" y="344"/>
                    <a:pt x="416" y="307"/>
                  </a:cubicBezTo>
                  <a:cubicBezTo>
                    <a:pt x="444" y="270"/>
                    <a:pt x="460" y="225"/>
                    <a:pt x="460" y="179"/>
                  </a:cubicBezTo>
                  <a:cubicBezTo>
                    <a:pt x="460" y="167"/>
                    <a:pt x="459" y="155"/>
                    <a:pt x="456" y="144"/>
                  </a:cubicBezTo>
                  <a:cubicBezTo>
                    <a:pt x="453" y="127"/>
                    <a:pt x="460" y="160"/>
                    <a:pt x="456" y="144"/>
                  </a:cubicBezTo>
                  <a:close/>
                  <a:moveTo>
                    <a:pt x="423" y="195"/>
                  </a:moveTo>
                  <a:cubicBezTo>
                    <a:pt x="422" y="232"/>
                    <a:pt x="404" y="270"/>
                    <a:pt x="380" y="297"/>
                  </a:cubicBezTo>
                  <a:cubicBezTo>
                    <a:pt x="358" y="322"/>
                    <a:pt x="330" y="340"/>
                    <a:pt x="299" y="350"/>
                  </a:cubicBezTo>
                  <a:cubicBezTo>
                    <a:pt x="280" y="356"/>
                    <a:pt x="260" y="357"/>
                    <a:pt x="240" y="355"/>
                  </a:cubicBezTo>
                  <a:cubicBezTo>
                    <a:pt x="240" y="355"/>
                    <a:pt x="240" y="355"/>
                    <a:pt x="240" y="355"/>
                  </a:cubicBezTo>
                  <a:cubicBezTo>
                    <a:pt x="193" y="349"/>
                    <a:pt x="156" y="317"/>
                    <a:pt x="127" y="281"/>
                  </a:cubicBezTo>
                  <a:cubicBezTo>
                    <a:pt x="111" y="262"/>
                    <a:pt x="98" y="238"/>
                    <a:pt x="95" y="212"/>
                  </a:cubicBezTo>
                  <a:cubicBezTo>
                    <a:pt x="94" y="197"/>
                    <a:pt x="97" y="181"/>
                    <a:pt x="103" y="167"/>
                  </a:cubicBezTo>
                  <a:cubicBezTo>
                    <a:pt x="112" y="146"/>
                    <a:pt x="127" y="128"/>
                    <a:pt x="143" y="112"/>
                  </a:cubicBezTo>
                  <a:cubicBezTo>
                    <a:pt x="156" y="99"/>
                    <a:pt x="170" y="87"/>
                    <a:pt x="186" y="78"/>
                  </a:cubicBezTo>
                  <a:cubicBezTo>
                    <a:pt x="232" y="51"/>
                    <a:pt x="289" y="46"/>
                    <a:pt x="339" y="66"/>
                  </a:cubicBezTo>
                  <a:cubicBezTo>
                    <a:pt x="385" y="85"/>
                    <a:pt x="421" y="129"/>
                    <a:pt x="423" y="180"/>
                  </a:cubicBezTo>
                  <a:cubicBezTo>
                    <a:pt x="423" y="185"/>
                    <a:pt x="423" y="190"/>
                    <a:pt x="423" y="195"/>
                  </a:cubicBezTo>
                  <a:cubicBezTo>
                    <a:pt x="423" y="197"/>
                    <a:pt x="423" y="194"/>
                    <a:pt x="423" y="195"/>
                  </a:cubicBezTo>
                  <a:close/>
                </a:path>
              </a:pathLst>
            </a:custGeom>
            <a:solidFill>
              <a:srgbClr val="FFFFFF">
                <a:alpha val="3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</a:endParaRPr>
            </a:p>
          </p:txBody>
        </p:sp>
        <p:sp>
          <p:nvSpPr>
            <p:cNvPr id="48" name="Freeform 88">
              <a:extLst>
                <a:ext uri="{FF2B5EF4-FFF2-40B4-BE49-F238E27FC236}">
                  <a16:creationId xmlns:a16="http://schemas.microsoft.com/office/drawing/2014/main" id="{C4070943-EA7C-369C-001E-6A954AC0CE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64300" y="-77012"/>
              <a:ext cx="12148525" cy="10716021"/>
            </a:xfrm>
            <a:custGeom>
              <a:avLst/>
              <a:gdLst>
                <a:gd name="T0" fmla="*/ 456 w 460"/>
                <a:gd name="T1" fmla="*/ 144 h 405"/>
                <a:gd name="T2" fmla="*/ 389 w 460"/>
                <a:gd name="T3" fmla="*/ 39 h 405"/>
                <a:gd name="T4" fmla="*/ 253 w 460"/>
                <a:gd name="T5" fmla="*/ 3 h 405"/>
                <a:gd name="T6" fmla="*/ 175 w 460"/>
                <a:gd name="T7" fmla="*/ 21 h 405"/>
                <a:gd name="T8" fmla="*/ 107 w 460"/>
                <a:gd name="T9" fmla="*/ 59 h 405"/>
                <a:gd name="T10" fmla="*/ 28 w 460"/>
                <a:gd name="T11" fmla="*/ 137 h 405"/>
                <a:gd name="T12" fmla="*/ 12 w 460"/>
                <a:gd name="T13" fmla="*/ 248 h 405"/>
                <a:gd name="T14" fmla="*/ 76 w 460"/>
                <a:gd name="T15" fmla="*/ 340 h 405"/>
                <a:gd name="T16" fmla="*/ 186 w 460"/>
                <a:gd name="T17" fmla="*/ 398 h 405"/>
                <a:gd name="T18" fmla="*/ 243 w 460"/>
                <a:gd name="T19" fmla="*/ 404 h 405"/>
                <a:gd name="T20" fmla="*/ 306 w 460"/>
                <a:gd name="T21" fmla="*/ 390 h 405"/>
                <a:gd name="T22" fmla="*/ 416 w 460"/>
                <a:gd name="T23" fmla="*/ 307 h 405"/>
                <a:gd name="T24" fmla="*/ 460 w 460"/>
                <a:gd name="T25" fmla="*/ 179 h 405"/>
                <a:gd name="T26" fmla="*/ 456 w 460"/>
                <a:gd name="T27" fmla="*/ 144 h 405"/>
                <a:gd name="T28" fmla="*/ 456 w 460"/>
                <a:gd name="T29" fmla="*/ 144 h 405"/>
                <a:gd name="T30" fmla="*/ 423 w 460"/>
                <a:gd name="T31" fmla="*/ 195 h 405"/>
                <a:gd name="T32" fmla="*/ 380 w 460"/>
                <a:gd name="T33" fmla="*/ 297 h 405"/>
                <a:gd name="T34" fmla="*/ 299 w 460"/>
                <a:gd name="T35" fmla="*/ 350 h 405"/>
                <a:gd name="T36" fmla="*/ 240 w 460"/>
                <a:gd name="T37" fmla="*/ 355 h 405"/>
                <a:gd name="T38" fmla="*/ 240 w 460"/>
                <a:gd name="T39" fmla="*/ 355 h 405"/>
                <a:gd name="T40" fmla="*/ 127 w 460"/>
                <a:gd name="T41" fmla="*/ 281 h 405"/>
                <a:gd name="T42" fmla="*/ 95 w 460"/>
                <a:gd name="T43" fmla="*/ 212 h 405"/>
                <a:gd name="T44" fmla="*/ 103 w 460"/>
                <a:gd name="T45" fmla="*/ 167 h 405"/>
                <a:gd name="T46" fmla="*/ 143 w 460"/>
                <a:gd name="T47" fmla="*/ 112 h 405"/>
                <a:gd name="T48" fmla="*/ 186 w 460"/>
                <a:gd name="T49" fmla="*/ 78 h 405"/>
                <a:gd name="T50" fmla="*/ 339 w 460"/>
                <a:gd name="T51" fmla="*/ 66 h 405"/>
                <a:gd name="T52" fmla="*/ 423 w 460"/>
                <a:gd name="T53" fmla="*/ 180 h 405"/>
                <a:gd name="T54" fmla="*/ 423 w 460"/>
                <a:gd name="T55" fmla="*/ 195 h 405"/>
                <a:gd name="T56" fmla="*/ 423 w 460"/>
                <a:gd name="T57" fmla="*/ 195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60" h="405">
                  <a:moveTo>
                    <a:pt x="456" y="144"/>
                  </a:moveTo>
                  <a:cubicBezTo>
                    <a:pt x="447" y="102"/>
                    <a:pt x="423" y="64"/>
                    <a:pt x="389" y="39"/>
                  </a:cubicBezTo>
                  <a:cubicBezTo>
                    <a:pt x="350" y="11"/>
                    <a:pt x="299" y="0"/>
                    <a:pt x="253" y="3"/>
                  </a:cubicBezTo>
                  <a:cubicBezTo>
                    <a:pt x="226" y="5"/>
                    <a:pt x="200" y="11"/>
                    <a:pt x="175" y="21"/>
                  </a:cubicBezTo>
                  <a:cubicBezTo>
                    <a:pt x="151" y="31"/>
                    <a:pt x="129" y="44"/>
                    <a:pt x="107" y="59"/>
                  </a:cubicBezTo>
                  <a:cubicBezTo>
                    <a:pt x="77" y="80"/>
                    <a:pt x="48" y="106"/>
                    <a:pt x="28" y="137"/>
                  </a:cubicBezTo>
                  <a:cubicBezTo>
                    <a:pt x="7" y="171"/>
                    <a:pt x="0" y="210"/>
                    <a:pt x="12" y="248"/>
                  </a:cubicBezTo>
                  <a:cubicBezTo>
                    <a:pt x="23" y="284"/>
                    <a:pt x="48" y="316"/>
                    <a:pt x="76" y="340"/>
                  </a:cubicBezTo>
                  <a:cubicBezTo>
                    <a:pt x="108" y="367"/>
                    <a:pt x="145" y="389"/>
                    <a:pt x="186" y="398"/>
                  </a:cubicBezTo>
                  <a:cubicBezTo>
                    <a:pt x="205" y="403"/>
                    <a:pt x="224" y="405"/>
                    <a:pt x="243" y="404"/>
                  </a:cubicBezTo>
                  <a:cubicBezTo>
                    <a:pt x="264" y="402"/>
                    <a:pt x="286" y="398"/>
                    <a:pt x="306" y="390"/>
                  </a:cubicBezTo>
                  <a:cubicBezTo>
                    <a:pt x="350" y="374"/>
                    <a:pt x="388" y="344"/>
                    <a:pt x="416" y="307"/>
                  </a:cubicBezTo>
                  <a:cubicBezTo>
                    <a:pt x="444" y="270"/>
                    <a:pt x="460" y="225"/>
                    <a:pt x="460" y="179"/>
                  </a:cubicBezTo>
                  <a:cubicBezTo>
                    <a:pt x="460" y="167"/>
                    <a:pt x="459" y="155"/>
                    <a:pt x="456" y="144"/>
                  </a:cubicBezTo>
                  <a:cubicBezTo>
                    <a:pt x="453" y="127"/>
                    <a:pt x="460" y="160"/>
                    <a:pt x="456" y="144"/>
                  </a:cubicBezTo>
                  <a:close/>
                  <a:moveTo>
                    <a:pt x="423" y="195"/>
                  </a:moveTo>
                  <a:cubicBezTo>
                    <a:pt x="422" y="232"/>
                    <a:pt x="404" y="270"/>
                    <a:pt x="380" y="297"/>
                  </a:cubicBezTo>
                  <a:cubicBezTo>
                    <a:pt x="358" y="322"/>
                    <a:pt x="330" y="340"/>
                    <a:pt x="299" y="350"/>
                  </a:cubicBezTo>
                  <a:cubicBezTo>
                    <a:pt x="280" y="356"/>
                    <a:pt x="260" y="357"/>
                    <a:pt x="240" y="355"/>
                  </a:cubicBezTo>
                  <a:cubicBezTo>
                    <a:pt x="240" y="355"/>
                    <a:pt x="240" y="355"/>
                    <a:pt x="240" y="355"/>
                  </a:cubicBezTo>
                  <a:cubicBezTo>
                    <a:pt x="193" y="349"/>
                    <a:pt x="156" y="317"/>
                    <a:pt x="127" y="281"/>
                  </a:cubicBezTo>
                  <a:cubicBezTo>
                    <a:pt x="111" y="262"/>
                    <a:pt x="98" y="238"/>
                    <a:pt x="95" y="212"/>
                  </a:cubicBezTo>
                  <a:cubicBezTo>
                    <a:pt x="94" y="197"/>
                    <a:pt x="97" y="181"/>
                    <a:pt x="103" y="167"/>
                  </a:cubicBezTo>
                  <a:cubicBezTo>
                    <a:pt x="112" y="146"/>
                    <a:pt x="127" y="128"/>
                    <a:pt x="143" y="112"/>
                  </a:cubicBezTo>
                  <a:cubicBezTo>
                    <a:pt x="156" y="99"/>
                    <a:pt x="170" y="87"/>
                    <a:pt x="186" y="78"/>
                  </a:cubicBezTo>
                  <a:cubicBezTo>
                    <a:pt x="232" y="51"/>
                    <a:pt x="289" y="46"/>
                    <a:pt x="339" y="66"/>
                  </a:cubicBezTo>
                  <a:cubicBezTo>
                    <a:pt x="385" y="85"/>
                    <a:pt x="421" y="129"/>
                    <a:pt x="423" y="180"/>
                  </a:cubicBezTo>
                  <a:cubicBezTo>
                    <a:pt x="423" y="185"/>
                    <a:pt x="423" y="190"/>
                    <a:pt x="423" y="195"/>
                  </a:cubicBezTo>
                  <a:cubicBezTo>
                    <a:pt x="423" y="197"/>
                    <a:pt x="423" y="194"/>
                    <a:pt x="423" y="195"/>
                  </a:cubicBezTo>
                  <a:close/>
                </a:path>
              </a:pathLst>
            </a:custGeom>
            <a:solidFill>
              <a:srgbClr val="FFFFFF">
                <a:alpha val="6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3" name="Title 1">
            <a:extLst>
              <a:ext uri="{FF2B5EF4-FFF2-40B4-BE49-F238E27FC236}">
                <a16:creationId xmlns:a16="http://schemas.microsoft.com/office/drawing/2014/main" id="{6F395AF9-FB20-B8E7-7081-927DBCB7574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94760" y="3429000"/>
            <a:ext cx="7741920" cy="2131368"/>
          </a:xfrm>
          <a:solidFill>
            <a:srgbClr val="FFFFFF">
              <a:alpha val="60000"/>
            </a:srgbClr>
          </a:solidFill>
        </p:spPr>
        <p:txBody>
          <a:bodyPr anchor="t">
            <a:normAutofit/>
          </a:bodyPr>
          <a:lstStyle>
            <a:lvl1pPr algn="ctr">
              <a:defRPr sz="4800" b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4" name="Subtitle 2">
            <a:extLst>
              <a:ext uri="{FF2B5EF4-FFF2-40B4-BE49-F238E27FC236}">
                <a16:creationId xmlns:a16="http://schemas.microsoft.com/office/drawing/2014/main" id="{F9701376-5483-4520-A447-753A5CF93D5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94760" y="5560367"/>
            <a:ext cx="7741920" cy="712949"/>
          </a:xfrm>
          <a:solidFill>
            <a:srgbClr val="FFFFFF">
              <a:alpha val="60000"/>
            </a:srgbClr>
          </a:solidFill>
        </p:spPr>
        <p:txBody>
          <a:bodyPr anchor="ctr"/>
          <a:lstStyle>
            <a:lvl1pPr marL="0" indent="0" algn="ctr">
              <a:buNone/>
              <a:defRPr sz="2400">
                <a:solidFill>
                  <a:srgbClr val="C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pic>
        <p:nvPicPr>
          <p:cNvPr id="56" name="Graphic 55">
            <a:extLst>
              <a:ext uri="{FF2B5EF4-FFF2-40B4-BE49-F238E27FC236}">
                <a16:creationId xmlns:a16="http://schemas.microsoft.com/office/drawing/2014/main" id="{98D39F07-FD1D-B341-DBC8-79C624689D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211270" y="678121"/>
            <a:ext cx="2898804" cy="2072758"/>
          </a:xfrm>
          <a:prstGeom prst="rect">
            <a:avLst/>
          </a:prstGeom>
        </p:spPr>
      </p:pic>
      <p:pic>
        <p:nvPicPr>
          <p:cNvPr id="2" name="echo-grid-156713-unsplash.jpg">
            <a:extLst>
              <a:ext uri="{FF2B5EF4-FFF2-40B4-BE49-F238E27FC236}">
                <a16:creationId xmlns:a16="http://schemas.microsoft.com/office/drawing/2014/main" id="{EEC817C2-B8B6-F4C1-0335-D81E13FC42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50" t="6227" r="5247" b="29609"/>
          <a:stretch/>
        </p:blipFill>
        <p:spPr>
          <a:xfrm>
            <a:off x="219419" y="235958"/>
            <a:ext cx="3267532" cy="32676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92" h="21588" extrusionOk="0">
                <a:moveTo>
                  <a:pt x="9432" y="0"/>
                </a:moveTo>
                <a:cubicBezTo>
                  <a:pt x="9682" y="0"/>
                  <a:pt x="9932" y="54"/>
                  <a:pt x="10164" y="163"/>
                </a:cubicBezTo>
                <a:cubicBezTo>
                  <a:pt x="10347" y="248"/>
                  <a:pt x="10515" y="366"/>
                  <a:pt x="10657" y="509"/>
                </a:cubicBezTo>
                <a:cubicBezTo>
                  <a:pt x="10800" y="653"/>
                  <a:pt x="10917" y="820"/>
                  <a:pt x="11002" y="1004"/>
                </a:cubicBezTo>
                <a:cubicBezTo>
                  <a:pt x="11219" y="1470"/>
                  <a:pt x="11219" y="2009"/>
                  <a:pt x="11002" y="2475"/>
                </a:cubicBezTo>
                <a:cubicBezTo>
                  <a:pt x="10863" y="2763"/>
                  <a:pt x="10543" y="3084"/>
                  <a:pt x="10009" y="3620"/>
                </a:cubicBezTo>
                <a:lnTo>
                  <a:pt x="3603" y="10057"/>
                </a:lnTo>
                <a:cubicBezTo>
                  <a:pt x="3070" y="10592"/>
                  <a:pt x="2751" y="10914"/>
                  <a:pt x="2463" y="11054"/>
                </a:cubicBezTo>
                <a:cubicBezTo>
                  <a:pt x="2000" y="11271"/>
                  <a:pt x="1463" y="11271"/>
                  <a:pt x="1000" y="11054"/>
                </a:cubicBezTo>
                <a:cubicBezTo>
                  <a:pt x="817" y="10968"/>
                  <a:pt x="650" y="10851"/>
                  <a:pt x="507" y="10707"/>
                </a:cubicBezTo>
                <a:cubicBezTo>
                  <a:pt x="364" y="10564"/>
                  <a:pt x="248" y="10396"/>
                  <a:pt x="162" y="10212"/>
                </a:cubicBezTo>
                <a:cubicBezTo>
                  <a:pt x="-54" y="9746"/>
                  <a:pt x="-54" y="9208"/>
                  <a:pt x="162" y="8742"/>
                </a:cubicBezTo>
                <a:cubicBezTo>
                  <a:pt x="302" y="8453"/>
                  <a:pt x="621" y="8131"/>
                  <a:pt x="1154" y="7596"/>
                </a:cubicBezTo>
                <a:lnTo>
                  <a:pt x="7560" y="1159"/>
                </a:lnTo>
                <a:cubicBezTo>
                  <a:pt x="8093" y="624"/>
                  <a:pt x="8414" y="303"/>
                  <a:pt x="8701" y="163"/>
                </a:cubicBezTo>
                <a:cubicBezTo>
                  <a:pt x="8933" y="54"/>
                  <a:pt x="9183" y="0"/>
                  <a:pt x="9432" y="0"/>
                </a:cubicBezTo>
                <a:close/>
                <a:moveTo>
                  <a:pt x="4213" y="57"/>
                </a:moveTo>
                <a:cubicBezTo>
                  <a:pt x="4463" y="57"/>
                  <a:pt x="4713" y="112"/>
                  <a:pt x="4945" y="221"/>
                </a:cubicBezTo>
                <a:cubicBezTo>
                  <a:pt x="5128" y="307"/>
                  <a:pt x="5293" y="424"/>
                  <a:pt x="5436" y="567"/>
                </a:cubicBezTo>
                <a:cubicBezTo>
                  <a:pt x="5579" y="711"/>
                  <a:pt x="5696" y="878"/>
                  <a:pt x="5781" y="1062"/>
                </a:cubicBezTo>
                <a:cubicBezTo>
                  <a:pt x="5998" y="1528"/>
                  <a:pt x="5998" y="2067"/>
                  <a:pt x="5781" y="2533"/>
                </a:cubicBezTo>
                <a:cubicBezTo>
                  <a:pt x="5642" y="2821"/>
                  <a:pt x="5323" y="3142"/>
                  <a:pt x="4790" y="3677"/>
                </a:cubicBezTo>
                <a:lnTo>
                  <a:pt x="3666" y="4807"/>
                </a:lnTo>
                <a:cubicBezTo>
                  <a:pt x="3132" y="5343"/>
                  <a:pt x="2812" y="5664"/>
                  <a:pt x="2525" y="5804"/>
                </a:cubicBezTo>
                <a:cubicBezTo>
                  <a:pt x="2061" y="6021"/>
                  <a:pt x="1526" y="6021"/>
                  <a:pt x="1062" y="5804"/>
                </a:cubicBezTo>
                <a:cubicBezTo>
                  <a:pt x="879" y="5718"/>
                  <a:pt x="712" y="5600"/>
                  <a:pt x="569" y="5457"/>
                </a:cubicBezTo>
                <a:cubicBezTo>
                  <a:pt x="426" y="5313"/>
                  <a:pt x="310" y="5147"/>
                  <a:pt x="224" y="4963"/>
                </a:cubicBezTo>
                <a:cubicBezTo>
                  <a:pt x="8" y="4497"/>
                  <a:pt x="8" y="3959"/>
                  <a:pt x="224" y="3493"/>
                </a:cubicBezTo>
                <a:cubicBezTo>
                  <a:pt x="364" y="3204"/>
                  <a:pt x="683" y="2882"/>
                  <a:pt x="1216" y="2347"/>
                </a:cubicBezTo>
                <a:lnTo>
                  <a:pt x="2341" y="1217"/>
                </a:lnTo>
                <a:cubicBezTo>
                  <a:pt x="2874" y="682"/>
                  <a:pt x="3194" y="361"/>
                  <a:pt x="3481" y="221"/>
                </a:cubicBezTo>
                <a:cubicBezTo>
                  <a:pt x="3713" y="112"/>
                  <a:pt x="3963" y="57"/>
                  <a:pt x="4213" y="57"/>
                </a:cubicBezTo>
                <a:close/>
                <a:moveTo>
                  <a:pt x="14521" y="75"/>
                </a:moveTo>
                <a:cubicBezTo>
                  <a:pt x="14771" y="75"/>
                  <a:pt x="15020" y="129"/>
                  <a:pt x="15252" y="238"/>
                </a:cubicBezTo>
                <a:cubicBezTo>
                  <a:pt x="15435" y="323"/>
                  <a:pt x="15602" y="441"/>
                  <a:pt x="15745" y="584"/>
                </a:cubicBezTo>
                <a:cubicBezTo>
                  <a:pt x="15888" y="728"/>
                  <a:pt x="16005" y="895"/>
                  <a:pt x="16090" y="1079"/>
                </a:cubicBezTo>
                <a:cubicBezTo>
                  <a:pt x="16306" y="1545"/>
                  <a:pt x="16306" y="2084"/>
                  <a:pt x="16090" y="2550"/>
                </a:cubicBezTo>
                <a:cubicBezTo>
                  <a:pt x="15951" y="2838"/>
                  <a:pt x="15631" y="3160"/>
                  <a:pt x="15098" y="3695"/>
                </a:cubicBezTo>
                <a:lnTo>
                  <a:pt x="3682" y="15164"/>
                </a:lnTo>
                <a:cubicBezTo>
                  <a:pt x="3149" y="15699"/>
                  <a:pt x="2830" y="16020"/>
                  <a:pt x="2543" y="16160"/>
                </a:cubicBezTo>
                <a:cubicBezTo>
                  <a:pt x="2079" y="16378"/>
                  <a:pt x="1543" y="16378"/>
                  <a:pt x="1079" y="16160"/>
                </a:cubicBezTo>
                <a:cubicBezTo>
                  <a:pt x="896" y="16075"/>
                  <a:pt x="730" y="15957"/>
                  <a:pt x="587" y="15814"/>
                </a:cubicBezTo>
                <a:cubicBezTo>
                  <a:pt x="444" y="15670"/>
                  <a:pt x="327" y="15503"/>
                  <a:pt x="242" y="15319"/>
                </a:cubicBezTo>
                <a:cubicBezTo>
                  <a:pt x="25" y="14853"/>
                  <a:pt x="25" y="14314"/>
                  <a:pt x="242" y="13848"/>
                </a:cubicBezTo>
                <a:cubicBezTo>
                  <a:pt x="381" y="13560"/>
                  <a:pt x="701" y="13239"/>
                  <a:pt x="1234" y="12704"/>
                </a:cubicBezTo>
                <a:lnTo>
                  <a:pt x="12649" y="1234"/>
                </a:lnTo>
                <a:cubicBezTo>
                  <a:pt x="13182" y="699"/>
                  <a:pt x="13502" y="378"/>
                  <a:pt x="13789" y="238"/>
                </a:cubicBezTo>
                <a:cubicBezTo>
                  <a:pt x="14021" y="129"/>
                  <a:pt x="14271" y="75"/>
                  <a:pt x="14521" y="75"/>
                </a:cubicBezTo>
                <a:close/>
                <a:moveTo>
                  <a:pt x="19582" y="177"/>
                </a:moveTo>
                <a:cubicBezTo>
                  <a:pt x="19832" y="177"/>
                  <a:pt x="20082" y="231"/>
                  <a:pt x="20314" y="340"/>
                </a:cubicBezTo>
                <a:cubicBezTo>
                  <a:pt x="20497" y="425"/>
                  <a:pt x="20664" y="543"/>
                  <a:pt x="20807" y="687"/>
                </a:cubicBezTo>
                <a:cubicBezTo>
                  <a:pt x="20950" y="830"/>
                  <a:pt x="21066" y="997"/>
                  <a:pt x="21152" y="1181"/>
                </a:cubicBezTo>
                <a:cubicBezTo>
                  <a:pt x="21368" y="1647"/>
                  <a:pt x="21368" y="2186"/>
                  <a:pt x="21152" y="2652"/>
                </a:cubicBezTo>
                <a:cubicBezTo>
                  <a:pt x="21012" y="2940"/>
                  <a:pt x="20692" y="3262"/>
                  <a:pt x="20159" y="3797"/>
                </a:cubicBezTo>
                <a:lnTo>
                  <a:pt x="3784" y="20248"/>
                </a:lnTo>
                <a:cubicBezTo>
                  <a:pt x="3251" y="20784"/>
                  <a:pt x="2931" y="21106"/>
                  <a:pt x="2644" y="21246"/>
                </a:cubicBezTo>
                <a:cubicBezTo>
                  <a:pt x="2180" y="21464"/>
                  <a:pt x="1645" y="21464"/>
                  <a:pt x="1181" y="21246"/>
                </a:cubicBezTo>
                <a:cubicBezTo>
                  <a:pt x="998" y="21160"/>
                  <a:pt x="831" y="21043"/>
                  <a:pt x="688" y="20900"/>
                </a:cubicBezTo>
                <a:cubicBezTo>
                  <a:pt x="545" y="20756"/>
                  <a:pt x="429" y="20588"/>
                  <a:pt x="343" y="20404"/>
                </a:cubicBezTo>
                <a:cubicBezTo>
                  <a:pt x="127" y="19938"/>
                  <a:pt x="127" y="19400"/>
                  <a:pt x="343" y="18934"/>
                </a:cubicBezTo>
                <a:cubicBezTo>
                  <a:pt x="483" y="18646"/>
                  <a:pt x="802" y="18324"/>
                  <a:pt x="1335" y="17789"/>
                </a:cubicBezTo>
                <a:lnTo>
                  <a:pt x="17710" y="1336"/>
                </a:lnTo>
                <a:cubicBezTo>
                  <a:pt x="18243" y="801"/>
                  <a:pt x="18564" y="480"/>
                  <a:pt x="18851" y="340"/>
                </a:cubicBezTo>
                <a:cubicBezTo>
                  <a:pt x="19083" y="231"/>
                  <a:pt x="19332" y="177"/>
                  <a:pt x="19582" y="177"/>
                </a:cubicBezTo>
                <a:close/>
                <a:moveTo>
                  <a:pt x="19719" y="5227"/>
                </a:moveTo>
                <a:cubicBezTo>
                  <a:pt x="19968" y="5227"/>
                  <a:pt x="20219" y="5282"/>
                  <a:pt x="20450" y="5391"/>
                </a:cubicBezTo>
                <a:cubicBezTo>
                  <a:pt x="20634" y="5477"/>
                  <a:pt x="20800" y="5593"/>
                  <a:pt x="20943" y="5737"/>
                </a:cubicBezTo>
                <a:cubicBezTo>
                  <a:pt x="21086" y="5880"/>
                  <a:pt x="21202" y="6047"/>
                  <a:pt x="21288" y="6231"/>
                </a:cubicBezTo>
                <a:cubicBezTo>
                  <a:pt x="21504" y="6697"/>
                  <a:pt x="21504" y="7235"/>
                  <a:pt x="21288" y="7702"/>
                </a:cubicBezTo>
                <a:cubicBezTo>
                  <a:pt x="21148" y="7990"/>
                  <a:pt x="20829" y="8312"/>
                  <a:pt x="20296" y="8848"/>
                </a:cubicBezTo>
                <a:lnTo>
                  <a:pt x="8811" y="20386"/>
                </a:lnTo>
                <a:cubicBezTo>
                  <a:pt x="8278" y="20922"/>
                  <a:pt x="7958" y="21243"/>
                  <a:pt x="7671" y="21383"/>
                </a:cubicBezTo>
                <a:cubicBezTo>
                  <a:pt x="7207" y="21600"/>
                  <a:pt x="6671" y="21600"/>
                  <a:pt x="6207" y="21383"/>
                </a:cubicBezTo>
                <a:cubicBezTo>
                  <a:pt x="6024" y="21297"/>
                  <a:pt x="5858" y="21180"/>
                  <a:pt x="5715" y="21036"/>
                </a:cubicBezTo>
                <a:cubicBezTo>
                  <a:pt x="5572" y="20893"/>
                  <a:pt x="5456" y="20725"/>
                  <a:pt x="5371" y="20541"/>
                </a:cubicBezTo>
                <a:cubicBezTo>
                  <a:pt x="5154" y="20075"/>
                  <a:pt x="5154" y="19537"/>
                  <a:pt x="5371" y="19071"/>
                </a:cubicBezTo>
                <a:cubicBezTo>
                  <a:pt x="5510" y="18782"/>
                  <a:pt x="5829" y="18462"/>
                  <a:pt x="6362" y="17926"/>
                </a:cubicBezTo>
                <a:lnTo>
                  <a:pt x="17847" y="6388"/>
                </a:lnTo>
                <a:cubicBezTo>
                  <a:pt x="18380" y="5852"/>
                  <a:pt x="18700" y="5531"/>
                  <a:pt x="18987" y="5391"/>
                </a:cubicBezTo>
                <a:cubicBezTo>
                  <a:pt x="19219" y="5282"/>
                  <a:pt x="19469" y="5227"/>
                  <a:pt x="19719" y="5227"/>
                </a:cubicBezTo>
                <a:close/>
                <a:moveTo>
                  <a:pt x="19761" y="10372"/>
                </a:moveTo>
                <a:cubicBezTo>
                  <a:pt x="20011" y="10372"/>
                  <a:pt x="20261" y="10426"/>
                  <a:pt x="20493" y="10535"/>
                </a:cubicBezTo>
                <a:cubicBezTo>
                  <a:pt x="20676" y="10621"/>
                  <a:pt x="20842" y="10738"/>
                  <a:pt x="20985" y="10881"/>
                </a:cubicBezTo>
                <a:cubicBezTo>
                  <a:pt x="21128" y="11025"/>
                  <a:pt x="21244" y="11193"/>
                  <a:pt x="21330" y="11377"/>
                </a:cubicBezTo>
                <a:cubicBezTo>
                  <a:pt x="21546" y="11843"/>
                  <a:pt x="21546" y="12381"/>
                  <a:pt x="21330" y="12847"/>
                </a:cubicBezTo>
                <a:cubicBezTo>
                  <a:pt x="21190" y="13135"/>
                  <a:pt x="20871" y="13456"/>
                  <a:pt x="20338" y="13992"/>
                </a:cubicBezTo>
                <a:lnTo>
                  <a:pt x="13932" y="20428"/>
                </a:lnTo>
                <a:cubicBezTo>
                  <a:pt x="13399" y="20964"/>
                  <a:pt x="13079" y="21285"/>
                  <a:pt x="12792" y="21425"/>
                </a:cubicBezTo>
                <a:cubicBezTo>
                  <a:pt x="12560" y="21533"/>
                  <a:pt x="12310" y="21588"/>
                  <a:pt x="12060" y="21588"/>
                </a:cubicBezTo>
                <a:cubicBezTo>
                  <a:pt x="11810" y="21588"/>
                  <a:pt x="11560" y="21533"/>
                  <a:pt x="11328" y="21425"/>
                </a:cubicBezTo>
                <a:cubicBezTo>
                  <a:pt x="11145" y="21339"/>
                  <a:pt x="10978" y="21222"/>
                  <a:pt x="10835" y="21078"/>
                </a:cubicBezTo>
                <a:cubicBezTo>
                  <a:pt x="10692" y="20935"/>
                  <a:pt x="10576" y="20769"/>
                  <a:pt x="10490" y="20585"/>
                </a:cubicBezTo>
                <a:cubicBezTo>
                  <a:pt x="10274" y="20119"/>
                  <a:pt x="10274" y="19580"/>
                  <a:pt x="10490" y="19114"/>
                </a:cubicBezTo>
                <a:cubicBezTo>
                  <a:pt x="10630" y="18826"/>
                  <a:pt x="10949" y="18504"/>
                  <a:pt x="11483" y="17968"/>
                </a:cubicBezTo>
                <a:lnTo>
                  <a:pt x="17889" y="11532"/>
                </a:lnTo>
                <a:cubicBezTo>
                  <a:pt x="18422" y="10996"/>
                  <a:pt x="18742" y="10675"/>
                  <a:pt x="19029" y="10535"/>
                </a:cubicBezTo>
                <a:cubicBezTo>
                  <a:pt x="19261" y="10426"/>
                  <a:pt x="19511" y="10372"/>
                  <a:pt x="19761" y="10372"/>
                </a:cubicBezTo>
                <a:close/>
                <a:moveTo>
                  <a:pt x="19702" y="15618"/>
                </a:moveTo>
                <a:cubicBezTo>
                  <a:pt x="19952" y="15618"/>
                  <a:pt x="20201" y="15674"/>
                  <a:pt x="20433" y="15782"/>
                </a:cubicBezTo>
                <a:cubicBezTo>
                  <a:pt x="20616" y="15868"/>
                  <a:pt x="20782" y="15985"/>
                  <a:pt x="20925" y="16129"/>
                </a:cubicBezTo>
                <a:cubicBezTo>
                  <a:pt x="21068" y="16273"/>
                  <a:pt x="21186" y="16439"/>
                  <a:pt x="21271" y="16623"/>
                </a:cubicBezTo>
                <a:cubicBezTo>
                  <a:pt x="21487" y="17089"/>
                  <a:pt x="21487" y="17627"/>
                  <a:pt x="21271" y="18093"/>
                </a:cubicBezTo>
                <a:cubicBezTo>
                  <a:pt x="21132" y="18381"/>
                  <a:pt x="20812" y="18704"/>
                  <a:pt x="20279" y="19239"/>
                </a:cubicBezTo>
                <a:lnTo>
                  <a:pt x="19154" y="20368"/>
                </a:lnTo>
                <a:cubicBezTo>
                  <a:pt x="18621" y="20904"/>
                  <a:pt x="18301" y="21226"/>
                  <a:pt x="18013" y="21366"/>
                </a:cubicBezTo>
                <a:cubicBezTo>
                  <a:pt x="17550" y="21583"/>
                  <a:pt x="17014" y="21583"/>
                  <a:pt x="16550" y="21366"/>
                </a:cubicBezTo>
                <a:cubicBezTo>
                  <a:pt x="16367" y="21280"/>
                  <a:pt x="16201" y="21162"/>
                  <a:pt x="16058" y="21019"/>
                </a:cubicBezTo>
                <a:cubicBezTo>
                  <a:pt x="15915" y="20875"/>
                  <a:pt x="15798" y="20708"/>
                  <a:pt x="15713" y="20524"/>
                </a:cubicBezTo>
                <a:cubicBezTo>
                  <a:pt x="15497" y="20058"/>
                  <a:pt x="15497" y="19520"/>
                  <a:pt x="15713" y="19054"/>
                </a:cubicBezTo>
                <a:cubicBezTo>
                  <a:pt x="15852" y="18765"/>
                  <a:pt x="16172" y="18444"/>
                  <a:pt x="16705" y="17908"/>
                </a:cubicBezTo>
                <a:lnTo>
                  <a:pt x="17830" y="16779"/>
                </a:lnTo>
                <a:cubicBezTo>
                  <a:pt x="18363" y="16244"/>
                  <a:pt x="18682" y="15923"/>
                  <a:pt x="18969" y="15782"/>
                </a:cubicBezTo>
                <a:cubicBezTo>
                  <a:pt x="19201" y="15674"/>
                  <a:pt x="19452" y="15618"/>
                  <a:pt x="19702" y="15618"/>
                </a:cubicBez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018993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2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2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2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20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1" presetClass="entr" presetSubtype="0" fill="hold" nodeType="withEffect">
                                  <p:stCondLst>
                                    <p:cond delay="10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20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20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20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20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6" presetClass="emph" presetSubtype="0" repeatCount="indefinite" fill="hold" nodeType="withEffect">
                                  <p:stCondLst>
                                    <p:cond delay="15000"/>
                                  </p:stCondLst>
                                  <p:childTnLst>
                                    <p:animScale>
                                      <p:cBhvr>
                                        <p:cTn id="21" dur="10000" fill="hold"/>
                                        <p:tgtEl>
                                          <p:spTgt spid="45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22" presetID="6" presetClass="emph" presetSubtype="0" repeatCount="indefinite" fill="hold" nodeType="withEffect">
                                  <p:stCondLst>
                                    <p:cond delay="21800"/>
                                  </p:stCondLst>
                                  <p:childTnLst>
                                    <p:animScale>
                                      <p:cBhvr>
                                        <p:cTn id="23" dur="10000" fill="hold"/>
                                        <p:tgtEl>
                                          <p:spTgt spid="37"/>
                                        </p:tgtEl>
                                      </p:cBhvr>
                                      <p:by x="25000" y="2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267B4E7-F025-93F4-F2AD-49A06C2CC0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-1" y="-2"/>
            <a:ext cx="12245370" cy="685800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1ADC1C4-5F1D-D408-0B7D-46DCD66D3F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2B1D40-758F-823B-CE34-80947CFA20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1615440"/>
            <a:ext cx="6172200" cy="460248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928DE0-71EE-9EA8-E8CB-8C52060110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41319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970308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735EF57F-0AD3-6364-EA07-74A1FA26C3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-1" y="-2"/>
            <a:ext cx="12245370" cy="685800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0F0D7AB-8825-9540-BCA3-89FC6DFE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DCF6CFC-9D11-853E-203A-F07228A434F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1737360"/>
            <a:ext cx="6172200" cy="44226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6DE769-D443-1411-2530-A5512499313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41026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7856685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48652880-7767-8803-25F0-46C94B46F6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-1" y="-2"/>
            <a:ext cx="12245370" cy="6858002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050D11BC-E93D-F425-372E-63BAAA1E576A}"/>
              </a:ext>
            </a:extLst>
          </p:cNvPr>
          <p:cNvSpPr/>
          <p:nvPr userDrawn="1"/>
        </p:nvSpPr>
        <p:spPr>
          <a:xfrm>
            <a:off x="-15241" y="243840"/>
            <a:ext cx="12245369" cy="6112510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Vertical Title 1">
            <a:extLst>
              <a:ext uri="{FF2B5EF4-FFF2-40B4-BE49-F238E27FC236}">
                <a16:creationId xmlns:a16="http://schemas.microsoft.com/office/drawing/2014/main" id="{0944AD5D-7902-5C28-7821-D64D71C44C0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337968" cy="5811838"/>
          </a:xfrm>
          <a:prstGeom prst="rect">
            <a:avLst/>
          </a:prstGeom>
        </p:spPr>
        <p:txBody>
          <a:bodyPr vert="eaVert"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16FC0DE-D072-0E92-98AB-FAA46CB14E0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1E17AEE-F037-BE96-BC62-A6641176DA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663"/>
          <a:stretch/>
        </p:blipFill>
        <p:spPr>
          <a:xfrm rot="5400000">
            <a:off x="10824542" y="5001418"/>
            <a:ext cx="1593258" cy="1116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4180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8AA41DF-C7F1-427C-04A2-52CC865E002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C62828">
                  <a:lumMod val="67000"/>
                </a:srgbClr>
              </a:gs>
              <a:gs pos="48000">
                <a:srgbClr val="E53935"/>
              </a:gs>
              <a:gs pos="100000">
                <a:srgbClr val="B71C1C"/>
              </a:gs>
            </a:gsLst>
            <a:path path="circle">
              <a:fillToRect l="100000" t="100000"/>
            </a:path>
            <a:tileRect r="-100000" b="-10000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7341922-082F-811D-B634-92B2FBD4A864}"/>
              </a:ext>
            </a:extLst>
          </p:cNvPr>
          <p:cNvGrpSpPr/>
          <p:nvPr userDrawn="1"/>
        </p:nvGrpSpPr>
        <p:grpSpPr>
          <a:xfrm rot="8462616">
            <a:off x="-2504038" y="-6265630"/>
            <a:ext cx="15412825" cy="16074031"/>
            <a:chOff x="0" y="-77012"/>
            <a:chExt cx="15412825" cy="16074031"/>
          </a:xfrm>
        </p:grpSpPr>
        <p:grpSp>
          <p:nvGrpSpPr>
            <p:cNvPr id="5" name="Group 84">
              <a:extLst>
                <a:ext uri="{FF2B5EF4-FFF2-40B4-BE49-F238E27FC236}">
                  <a16:creationId xmlns:a16="http://schemas.microsoft.com/office/drawing/2014/main" id="{2590B9C1-A5C1-30CD-3E09-2D60612FC05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0" y="5280998"/>
              <a:ext cx="12148525" cy="10716021"/>
              <a:chOff x="3286" y="1675"/>
              <a:chExt cx="1094" cy="965"/>
            </a:xfrm>
            <a:solidFill>
              <a:srgbClr val="FFFFFF">
                <a:alpha val="3000"/>
              </a:srgbClr>
            </a:solidFill>
          </p:grpSpPr>
          <p:sp>
            <p:nvSpPr>
              <p:cNvPr id="10" name="Freeform 85">
                <a:extLst>
                  <a:ext uri="{FF2B5EF4-FFF2-40B4-BE49-F238E27FC236}">
                    <a16:creationId xmlns:a16="http://schemas.microsoft.com/office/drawing/2014/main" id="{D851DBF9-AE90-5295-CB50-04E9129A74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84" y="1685"/>
                <a:ext cx="910" cy="838"/>
              </a:xfrm>
              <a:custGeom>
                <a:avLst/>
                <a:gdLst>
                  <a:gd name="T0" fmla="*/ 233 w 383"/>
                  <a:gd name="T1" fmla="*/ 49 h 352"/>
                  <a:gd name="T2" fmla="*/ 212 w 383"/>
                  <a:gd name="T3" fmla="*/ 51 h 352"/>
                  <a:gd name="T4" fmla="*/ 151 w 383"/>
                  <a:gd name="T5" fmla="*/ 70 h 352"/>
                  <a:gd name="T6" fmla="*/ 187 w 383"/>
                  <a:gd name="T7" fmla="*/ 66 h 352"/>
                  <a:gd name="T8" fmla="*/ 189 w 383"/>
                  <a:gd name="T9" fmla="*/ 66 h 352"/>
                  <a:gd name="T10" fmla="*/ 198 w 383"/>
                  <a:gd name="T11" fmla="*/ 67 h 352"/>
                  <a:gd name="T12" fmla="*/ 225 w 383"/>
                  <a:gd name="T13" fmla="*/ 74 h 352"/>
                  <a:gd name="T14" fmla="*/ 270 w 383"/>
                  <a:gd name="T15" fmla="*/ 102 h 352"/>
                  <a:gd name="T16" fmla="*/ 319 w 383"/>
                  <a:gd name="T17" fmla="*/ 164 h 352"/>
                  <a:gd name="T18" fmla="*/ 328 w 383"/>
                  <a:gd name="T19" fmla="*/ 202 h 352"/>
                  <a:gd name="T20" fmla="*/ 328 w 383"/>
                  <a:gd name="T21" fmla="*/ 201 h 352"/>
                  <a:gd name="T22" fmla="*/ 303 w 383"/>
                  <a:gd name="T23" fmla="*/ 278 h 352"/>
                  <a:gd name="T24" fmla="*/ 245 w 383"/>
                  <a:gd name="T25" fmla="*/ 333 h 352"/>
                  <a:gd name="T26" fmla="*/ 192 w 383"/>
                  <a:gd name="T27" fmla="*/ 350 h 352"/>
                  <a:gd name="T28" fmla="*/ 199 w 383"/>
                  <a:gd name="T29" fmla="*/ 351 h 352"/>
                  <a:gd name="T30" fmla="*/ 199 w 383"/>
                  <a:gd name="T31" fmla="*/ 351 h 352"/>
                  <a:gd name="T32" fmla="*/ 215 w 383"/>
                  <a:gd name="T33" fmla="*/ 352 h 352"/>
                  <a:gd name="T34" fmla="*/ 253 w 383"/>
                  <a:gd name="T35" fmla="*/ 347 h 352"/>
                  <a:gd name="T36" fmla="*/ 306 w 383"/>
                  <a:gd name="T37" fmla="*/ 322 h 352"/>
                  <a:gd name="T38" fmla="*/ 371 w 383"/>
                  <a:gd name="T39" fmla="*/ 241 h 352"/>
                  <a:gd name="T40" fmla="*/ 382 w 383"/>
                  <a:gd name="T41" fmla="*/ 183 h 352"/>
                  <a:gd name="T42" fmla="*/ 382 w 383"/>
                  <a:gd name="T43" fmla="*/ 183 h 352"/>
                  <a:gd name="T44" fmla="*/ 382 w 383"/>
                  <a:gd name="T45" fmla="*/ 183 h 352"/>
                  <a:gd name="T46" fmla="*/ 382 w 383"/>
                  <a:gd name="T47" fmla="*/ 183 h 352"/>
                  <a:gd name="T48" fmla="*/ 382 w 383"/>
                  <a:gd name="T49" fmla="*/ 183 h 352"/>
                  <a:gd name="T50" fmla="*/ 332 w 383"/>
                  <a:gd name="T51" fmla="*/ 82 h 352"/>
                  <a:gd name="T52" fmla="*/ 233 w 383"/>
                  <a:gd name="T53" fmla="*/ 49 h 352"/>
                  <a:gd name="T54" fmla="*/ 382 w 383"/>
                  <a:gd name="T55" fmla="*/ 180 h 352"/>
                  <a:gd name="T56" fmla="*/ 382 w 383"/>
                  <a:gd name="T57" fmla="*/ 183 h 352"/>
                  <a:gd name="T58" fmla="*/ 382 w 383"/>
                  <a:gd name="T59" fmla="*/ 183 h 352"/>
                  <a:gd name="T60" fmla="*/ 382 w 383"/>
                  <a:gd name="T61" fmla="*/ 183 h 352"/>
                  <a:gd name="T62" fmla="*/ 382 w 383"/>
                  <a:gd name="T63" fmla="*/ 184 h 352"/>
                  <a:gd name="T64" fmla="*/ 382 w 383"/>
                  <a:gd name="T65" fmla="*/ 182 h 352"/>
                  <a:gd name="T66" fmla="*/ 382 w 383"/>
                  <a:gd name="T67" fmla="*/ 180 h 352"/>
                  <a:gd name="T68" fmla="*/ 207 w 383"/>
                  <a:gd name="T69" fmla="*/ 0 h 352"/>
                  <a:gd name="T70" fmla="*/ 200 w 383"/>
                  <a:gd name="T71" fmla="*/ 0 h 352"/>
                  <a:gd name="T72" fmla="*/ 200 w 383"/>
                  <a:gd name="T73" fmla="*/ 0 h 352"/>
                  <a:gd name="T74" fmla="*/ 200 w 383"/>
                  <a:gd name="T75" fmla="*/ 0 h 352"/>
                  <a:gd name="T76" fmla="*/ 199 w 383"/>
                  <a:gd name="T77" fmla="*/ 0 h 352"/>
                  <a:gd name="T78" fmla="*/ 30 w 383"/>
                  <a:gd name="T79" fmla="*/ 80 h 352"/>
                  <a:gd name="T80" fmla="*/ 0 w 383"/>
                  <a:gd name="T81" fmla="*/ 115 h 352"/>
                  <a:gd name="T82" fmla="*/ 59 w 383"/>
                  <a:gd name="T83" fmla="*/ 60 h 352"/>
                  <a:gd name="T84" fmla="*/ 143 w 383"/>
                  <a:gd name="T85" fmla="*/ 14 h 352"/>
                  <a:gd name="T86" fmla="*/ 207 w 383"/>
                  <a:gd name="T87" fmla="*/ 0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83" h="352">
                    <a:moveTo>
                      <a:pt x="233" y="49"/>
                    </a:moveTo>
                    <a:cubicBezTo>
                      <a:pt x="226" y="49"/>
                      <a:pt x="219" y="50"/>
                      <a:pt x="212" y="51"/>
                    </a:cubicBezTo>
                    <a:cubicBezTo>
                      <a:pt x="191" y="53"/>
                      <a:pt x="170" y="60"/>
                      <a:pt x="151" y="70"/>
                    </a:cubicBezTo>
                    <a:cubicBezTo>
                      <a:pt x="163" y="67"/>
                      <a:pt x="175" y="66"/>
                      <a:pt x="187" y="66"/>
                    </a:cubicBezTo>
                    <a:cubicBezTo>
                      <a:pt x="185" y="66"/>
                      <a:pt x="188" y="66"/>
                      <a:pt x="189" y="66"/>
                    </a:cubicBezTo>
                    <a:cubicBezTo>
                      <a:pt x="192" y="66"/>
                      <a:pt x="195" y="67"/>
                      <a:pt x="198" y="67"/>
                    </a:cubicBezTo>
                    <a:cubicBezTo>
                      <a:pt x="207" y="68"/>
                      <a:pt x="216" y="71"/>
                      <a:pt x="225" y="74"/>
                    </a:cubicBezTo>
                    <a:cubicBezTo>
                      <a:pt x="242" y="81"/>
                      <a:pt x="257" y="91"/>
                      <a:pt x="270" y="102"/>
                    </a:cubicBezTo>
                    <a:cubicBezTo>
                      <a:pt x="291" y="119"/>
                      <a:pt x="309" y="139"/>
                      <a:pt x="319" y="164"/>
                    </a:cubicBezTo>
                    <a:cubicBezTo>
                      <a:pt x="325" y="176"/>
                      <a:pt x="327" y="189"/>
                      <a:pt x="328" y="202"/>
                    </a:cubicBezTo>
                    <a:cubicBezTo>
                      <a:pt x="328" y="201"/>
                      <a:pt x="328" y="201"/>
                      <a:pt x="328" y="201"/>
                    </a:cubicBezTo>
                    <a:cubicBezTo>
                      <a:pt x="328" y="229"/>
                      <a:pt x="318" y="255"/>
                      <a:pt x="303" y="278"/>
                    </a:cubicBezTo>
                    <a:cubicBezTo>
                      <a:pt x="287" y="300"/>
                      <a:pt x="268" y="319"/>
                      <a:pt x="245" y="333"/>
                    </a:cubicBezTo>
                    <a:cubicBezTo>
                      <a:pt x="229" y="342"/>
                      <a:pt x="211" y="348"/>
                      <a:pt x="192" y="350"/>
                    </a:cubicBezTo>
                    <a:cubicBezTo>
                      <a:pt x="194" y="351"/>
                      <a:pt x="197" y="351"/>
                      <a:pt x="199" y="351"/>
                    </a:cubicBezTo>
                    <a:cubicBezTo>
                      <a:pt x="199" y="351"/>
                      <a:pt x="199" y="351"/>
                      <a:pt x="199" y="351"/>
                    </a:cubicBezTo>
                    <a:cubicBezTo>
                      <a:pt x="204" y="352"/>
                      <a:pt x="210" y="352"/>
                      <a:pt x="215" y="352"/>
                    </a:cubicBezTo>
                    <a:cubicBezTo>
                      <a:pt x="227" y="352"/>
                      <a:pt x="240" y="351"/>
                      <a:pt x="253" y="347"/>
                    </a:cubicBezTo>
                    <a:cubicBezTo>
                      <a:pt x="272" y="342"/>
                      <a:pt x="290" y="333"/>
                      <a:pt x="306" y="322"/>
                    </a:cubicBezTo>
                    <a:cubicBezTo>
                      <a:pt x="335" y="302"/>
                      <a:pt x="358" y="273"/>
                      <a:pt x="371" y="241"/>
                    </a:cubicBezTo>
                    <a:cubicBezTo>
                      <a:pt x="378" y="223"/>
                      <a:pt x="383" y="202"/>
                      <a:pt x="382" y="183"/>
                    </a:cubicBezTo>
                    <a:cubicBezTo>
                      <a:pt x="382" y="183"/>
                      <a:pt x="382" y="183"/>
                      <a:pt x="382" y="183"/>
                    </a:cubicBezTo>
                    <a:cubicBezTo>
                      <a:pt x="382" y="183"/>
                      <a:pt x="382" y="183"/>
                      <a:pt x="382" y="183"/>
                    </a:cubicBezTo>
                    <a:cubicBezTo>
                      <a:pt x="382" y="183"/>
                      <a:pt x="382" y="183"/>
                      <a:pt x="382" y="183"/>
                    </a:cubicBezTo>
                    <a:cubicBezTo>
                      <a:pt x="382" y="183"/>
                      <a:pt x="382" y="183"/>
                      <a:pt x="382" y="183"/>
                    </a:cubicBezTo>
                    <a:cubicBezTo>
                      <a:pt x="383" y="143"/>
                      <a:pt x="362" y="106"/>
                      <a:pt x="332" y="82"/>
                    </a:cubicBezTo>
                    <a:cubicBezTo>
                      <a:pt x="304" y="60"/>
                      <a:pt x="268" y="49"/>
                      <a:pt x="233" y="49"/>
                    </a:cubicBezTo>
                    <a:moveTo>
                      <a:pt x="382" y="180"/>
                    </a:moveTo>
                    <a:cubicBezTo>
                      <a:pt x="382" y="180"/>
                      <a:pt x="382" y="181"/>
                      <a:pt x="382" y="183"/>
                    </a:cubicBezTo>
                    <a:cubicBezTo>
                      <a:pt x="382" y="183"/>
                      <a:pt x="382" y="183"/>
                      <a:pt x="382" y="183"/>
                    </a:cubicBezTo>
                    <a:cubicBezTo>
                      <a:pt x="382" y="183"/>
                      <a:pt x="382" y="183"/>
                      <a:pt x="382" y="183"/>
                    </a:cubicBezTo>
                    <a:cubicBezTo>
                      <a:pt x="382" y="183"/>
                      <a:pt x="382" y="184"/>
                      <a:pt x="382" y="184"/>
                    </a:cubicBezTo>
                    <a:cubicBezTo>
                      <a:pt x="382" y="184"/>
                      <a:pt x="382" y="183"/>
                      <a:pt x="382" y="182"/>
                    </a:cubicBezTo>
                    <a:cubicBezTo>
                      <a:pt x="382" y="181"/>
                      <a:pt x="382" y="180"/>
                      <a:pt x="382" y="180"/>
                    </a:cubicBezTo>
                    <a:moveTo>
                      <a:pt x="207" y="0"/>
                    </a:moveTo>
                    <a:cubicBezTo>
                      <a:pt x="204" y="0"/>
                      <a:pt x="202" y="0"/>
                      <a:pt x="200" y="0"/>
                    </a:cubicBezTo>
                    <a:cubicBezTo>
                      <a:pt x="200" y="0"/>
                      <a:pt x="200" y="0"/>
                      <a:pt x="200" y="0"/>
                    </a:cubicBezTo>
                    <a:cubicBezTo>
                      <a:pt x="200" y="0"/>
                      <a:pt x="200" y="0"/>
                      <a:pt x="200" y="0"/>
                    </a:cubicBezTo>
                    <a:cubicBezTo>
                      <a:pt x="200" y="0"/>
                      <a:pt x="199" y="0"/>
                      <a:pt x="199" y="0"/>
                    </a:cubicBezTo>
                    <a:cubicBezTo>
                      <a:pt x="136" y="6"/>
                      <a:pt x="75" y="36"/>
                      <a:pt x="30" y="80"/>
                    </a:cubicBezTo>
                    <a:cubicBezTo>
                      <a:pt x="19" y="91"/>
                      <a:pt x="9" y="102"/>
                      <a:pt x="0" y="115"/>
                    </a:cubicBezTo>
                    <a:cubicBezTo>
                      <a:pt x="17" y="94"/>
                      <a:pt x="37" y="76"/>
                      <a:pt x="59" y="60"/>
                    </a:cubicBezTo>
                    <a:cubicBezTo>
                      <a:pt x="85" y="41"/>
                      <a:pt x="113" y="24"/>
                      <a:pt x="143" y="14"/>
                    </a:cubicBezTo>
                    <a:cubicBezTo>
                      <a:pt x="164" y="6"/>
                      <a:pt x="185" y="1"/>
                      <a:pt x="207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" name="Freeform 86">
                <a:extLst>
                  <a:ext uri="{FF2B5EF4-FFF2-40B4-BE49-F238E27FC236}">
                    <a16:creationId xmlns:a16="http://schemas.microsoft.com/office/drawing/2014/main" id="{D7FDAD4F-996E-0837-8494-3B6750AB5C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47" y="2425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close/>
                    <a:moveTo>
                      <a:pt x="0" y="0"/>
                    </a:move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" name="Freeform 87">
                <a:extLst>
                  <a:ext uri="{FF2B5EF4-FFF2-40B4-BE49-F238E27FC236}">
                    <a16:creationId xmlns:a16="http://schemas.microsoft.com/office/drawing/2014/main" id="{25018995-7580-F07A-057D-835F63DEC81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47" y="2425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moveTo>
                      <a:pt x="0" y="0"/>
                    </a:moveTo>
                    <a:lnTo>
                      <a:pt x="0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" name="Freeform 88">
                <a:extLst>
                  <a:ext uri="{FF2B5EF4-FFF2-40B4-BE49-F238E27FC236}">
                    <a16:creationId xmlns:a16="http://schemas.microsoft.com/office/drawing/2014/main" id="{7F0A6A52-68AA-D8E0-09CF-724547B25B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86" y="1675"/>
                <a:ext cx="1094" cy="965"/>
              </a:xfrm>
              <a:custGeom>
                <a:avLst/>
                <a:gdLst>
                  <a:gd name="T0" fmla="*/ 456 w 460"/>
                  <a:gd name="T1" fmla="*/ 144 h 405"/>
                  <a:gd name="T2" fmla="*/ 389 w 460"/>
                  <a:gd name="T3" fmla="*/ 39 h 405"/>
                  <a:gd name="T4" fmla="*/ 253 w 460"/>
                  <a:gd name="T5" fmla="*/ 3 h 405"/>
                  <a:gd name="T6" fmla="*/ 175 w 460"/>
                  <a:gd name="T7" fmla="*/ 21 h 405"/>
                  <a:gd name="T8" fmla="*/ 107 w 460"/>
                  <a:gd name="T9" fmla="*/ 59 h 405"/>
                  <a:gd name="T10" fmla="*/ 28 w 460"/>
                  <a:gd name="T11" fmla="*/ 137 h 405"/>
                  <a:gd name="T12" fmla="*/ 12 w 460"/>
                  <a:gd name="T13" fmla="*/ 248 h 405"/>
                  <a:gd name="T14" fmla="*/ 76 w 460"/>
                  <a:gd name="T15" fmla="*/ 340 h 405"/>
                  <a:gd name="T16" fmla="*/ 186 w 460"/>
                  <a:gd name="T17" fmla="*/ 398 h 405"/>
                  <a:gd name="T18" fmla="*/ 243 w 460"/>
                  <a:gd name="T19" fmla="*/ 404 h 405"/>
                  <a:gd name="T20" fmla="*/ 306 w 460"/>
                  <a:gd name="T21" fmla="*/ 390 h 405"/>
                  <a:gd name="T22" fmla="*/ 416 w 460"/>
                  <a:gd name="T23" fmla="*/ 307 h 405"/>
                  <a:gd name="T24" fmla="*/ 460 w 460"/>
                  <a:gd name="T25" fmla="*/ 179 h 405"/>
                  <a:gd name="T26" fmla="*/ 456 w 460"/>
                  <a:gd name="T27" fmla="*/ 144 h 405"/>
                  <a:gd name="T28" fmla="*/ 456 w 460"/>
                  <a:gd name="T29" fmla="*/ 144 h 405"/>
                  <a:gd name="T30" fmla="*/ 423 w 460"/>
                  <a:gd name="T31" fmla="*/ 195 h 405"/>
                  <a:gd name="T32" fmla="*/ 380 w 460"/>
                  <a:gd name="T33" fmla="*/ 297 h 405"/>
                  <a:gd name="T34" fmla="*/ 299 w 460"/>
                  <a:gd name="T35" fmla="*/ 350 h 405"/>
                  <a:gd name="T36" fmla="*/ 240 w 460"/>
                  <a:gd name="T37" fmla="*/ 355 h 405"/>
                  <a:gd name="T38" fmla="*/ 240 w 460"/>
                  <a:gd name="T39" fmla="*/ 355 h 405"/>
                  <a:gd name="T40" fmla="*/ 127 w 460"/>
                  <a:gd name="T41" fmla="*/ 281 h 405"/>
                  <a:gd name="T42" fmla="*/ 95 w 460"/>
                  <a:gd name="T43" fmla="*/ 212 h 405"/>
                  <a:gd name="T44" fmla="*/ 103 w 460"/>
                  <a:gd name="T45" fmla="*/ 167 h 405"/>
                  <a:gd name="T46" fmla="*/ 143 w 460"/>
                  <a:gd name="T47" fmla="*/ 112 h 405"/>
                  <a:gd name="T48" fmla="*/ 186 w 460"/>
                  <a:gd name="T49" fmla="*/ 78 h 405"/>
                  <a:gd name="T50" fmla="*/ 339 w 460"/>
                  <a:gd name="T51" fmla="*/ 66 h 405"/>
                  <a:gd name="T52" fmla="*/ 423 w 460"/>
                  <a:gd name="T53" fmla="*/ 180 h 405"/>
                  <a:gd name="T54" fmla="*/ 423 w 460"/>
                  <a:gd name="T55" fmla="*/ 195 h 405"/>
                  <a:gd name="T56" fmla="*/ 423 w 460"/>
                  <a:gd name="T57" fmla="*/ 195 h 4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60" h="405">
                    <a:moveTo>
                      <a:pt x="456" y="144"/>
                    </a:moveTo>
                    <a:cubicBezTo>
                      <a:pt x="447" y="102"/>
                      <a:pt x="423" y="64"/>
                      <a:pt x="389" y="39"/>
                    </a:cubicBezTo>
                    <a:cubicBezTo>
                      <a:pt x="350" y="11"/>
                      <a:pt x="299" y="0"/>
                      <a:pt x="253" y="3"/>
                    </a:cubicBezTo>
                    <a:cubicBezTo>
                      <a:pt x="226" y="5"/>
                      <a:pt x="200" y="11"/>
                      <a:pt x="175" y="21"/>
                    </a:cubicBezTo>
                    <a:cubicBezTo>
                      <a:pt x="151" y="31"/>
                      <a:pt x="129" y="44"/>
                      <a:pt x="107" y="59"/>
                    </a:cubicBezTo>
                    <a:cubicBezTo>
                      <a:pt x="77" y="80"/>
                      <a:pt x="48" y="106"/>
                      <a:pt x="28" y="137"/>
                    </a:cubicBezTo>
                    <a:cubicBezTo>
                      <a:pt x="7" y="171"/>
                      <a:pt x="0" y="210"/>
                      <a:pt x="12" y="248"/>
                    </a:cubicBezTo>
                    <a:cubicBezTo>
                      <a:pt x="23" y="284"/>
                      <a:pt x="48" y="316"/>
                      <a:pt x="76" y="340"/>
                    </a:cubicBezTo>
                    <a:cubicBezTo>
                      <a:pt x="108" y="367"/>
                      <a:pt x="145" y="389"/>
                      <a:pt x="186" y="398"/>
                    </a:cubicBezTo>
                    <a:cubicBezTo>
                      <a:pt x="205" y="403"/>
                      <a:pt x="224" y="405"/>
                      <a:pt x="243" y="404"/>
                    </a:cubicBezTo>
                    <a:cubicBezTo>
                      <a:pt x="264" y="402"/>
                      <a:pt x="286" y="398"/>
                      <a:pt x="306" y="390"/>
                    </a:cubicBezTo>
                    <a:cubicBezTo>
                      <a:pt x="350" y="374"/>
                      <a:pt x="388" y="344"/>
                      <a:pt x="416" y="307"/>
                    </a:cubicBezTo>
                    <a:cubicBezTo>
                      <a:pt x="444" y="270"/>
                      <a:pt x="460" y="225"/>
                      <a:pt x="460" y="179"/>
                    </a:cubicBezTo>
                    <a:cubicBezTo>
                      <a:pt x="460" y="167"/>
                      <a:pt x="459" y="155"/>
                      <a:pt x="456" y="144"/>
                    </a:cubicBezTo>
                    <a:cubicBezTo>
                      <a:pt x="453" y="127"/>
                      <a:pt x="460" y="160"/>
                      <a:pt x="456" y="144"/>
                    </a:cubicBezTo>
                    <a:close/>
                    <a:moveTo>
                      <a:pt x="423" y="195"/>
                    </a:moveTo>
                    <a:cubicBezTo>
                      <a:pt x="422" y="232"/>
                      <a:pt x="404" y="270"/>
                      <a:pt x="380" y="297"/>
                    </a:cubicBezTo>
                    <a:cubicBezTo>
                      <a:pt x="358" y="322"/>
                      <a:pt x="330" y="340"/>
                      <a:pt x="299" y="350"/>
                    </a:cubicBezTo>
                    <a:cubicBezTo>
                      <a:pt x="280" y="356"/>
                      <a:pt x="260" y="357"/>
                      <a:pt x="240" y="355"/>
                    </a:cubicBezTo>
                    <a:cubicBezTo>
                      <a:pt x="240" y="355"/>
                      <a:pt x="240" y="355"/>
                      <a:pt x="240" y="355"/>
                    </a:cubicBezTo>
                    <a:cubicBezTo>
                      <a:pt x="193" y="349"/>
                      <a:pt x="156" y="317"/>
                      <a:pt x="127" y="281"/>
                    </a:cubicBezTo>
                    <a:cubicBezTo>
                      <a:pt x="111" y="262"/>
                      <a:pt x="98" y="238"/>
                      <a:pt x="95" y="212"/>
                    </a:cubicBezTo>
                    <a:cubicBezTo>
                      <a:pt x="94" y="197"/>
                      <a:pt x="97" y="181"/>
                      <a:pt x="103" y="167"/>
                    </a:cubicBezTo>
                    <a:cubicBezTo>
                      <a:pt x="112" y="146"/>
                      <a:pt x="127" y="128"/>
                      <a:pt x="143" y="112"/>
                    </a:cubicBezTo>
                    <a:cubicBezTo>
                      <a:pt x="156" y="99"/>
                      <a:pt x="170" y="87"/>
                      <a:pt x="186" y="78"/>
                    </a:cubicBezTo>
                    <a:cubicBezTo>
                      <a:pt x="232" y="51"/>
                      <a:pt x="289" y="46"/>
                      <a:pt x="339" y="66"/>
                    </a:cubicBezTo>
                    <a:cubicBezTo>
                      <a:pt x="385" y="85"/>
                      <a:pt x="421" y="129"/>
                      <a:pt x="423" y="180"/>
                    </a:cubicBezTo>
                    <a:cubicBezTo>
                      <a:pt x="423" y="185"/>
                      <a:pt x="423" y="190"/>
                      <a:pt x="423" y="195"/>
                    </a:cubicBezTo>
                    <a:cubicBezTo>
                      <a:pt x="423" y="197"/>
                      <a:pt x="423" y="194"/>
                      <a:pt x="423" y="19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6" name="Freeform 88">
              <a:extLst>
                <a:ext uri="{FF2B5EF4-FFF2-40B4-BE49-F238E27FC236}">
                  <a16:creationId xmlns:a16="http://schemas.microsoft.com/office/drawing/2014/main" id="{E26696EB-25BE-4871-A78B-D67E10BDEE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46032" y="2688184"/>
              <a:ext cx="12148525" cy="10716021"/>
            </a:xfrm>
            <a:custGeom>
              <a:avLst/>
              <a:gdLst>
                <a:gd name="T0" fmla="*/ 456 w 460"/>
                <a:gd name="T1" fmla="*/ 144 h 405"/>
                <a:gd name="T2" fmla="*/ 389 w 460"/>
                <a:gd name="T3" fmla="*/ 39 h 405"/>
                <a:gd name="T4" fmla="*/ 253 w 460"/>
                <a:gd name="T5" fmla="*/ 3 h 405"/>
                <a:gd name="T6" fmla="*/ 175 w 460"/>
                <a:gd name="T7" fmla="*/ 21 h 405"/>
                <a:gd name="T8" fmla="*/ 107 w 460"/>
                <a:gd name="T9" fmla="*/ 59 h 405"/>
                <a:gd name="T10" fmla="*/ 28 w 460"/>
                <a:gd name="T11" fmla="*/ 137 h 405"/>
                <a:gd name="T12" fmla="*/ 12 w 460"/>
                <a:gd name="T13" fmla="*/ 248 h 405"/>
                <a:gd name="T14" fmla="*/ 76 w 460"/>
                <a:gd name="T15" fmla="*/ 340 h 405"/>
                <a:gd name="T16" fmla="*/ 186 w 460"/>
                <a:gd name="T17" fmla="*/ 398 h 405"/>
                <a:gd name="T18" fmla="*/ 243 w 460"/>
                <a:gd name="T19" fmla="*/ 404 h 405"/>
                <a:gd name="T20" fmla="*/ 306 w 460"/>
                <a:gd name="T21" fmla="*/ 390 h 405"/>
                <a:gd name="T22" fmla="*/ 416 w 460"/>
                <a:gd name="T23" fmla="*/ 307 h 405"/>
                <a:gd name="T24" fmla="*/ 460 w 460"/>
                <a:gd name="T25" fmla="*/ 179 h 405"/>
                <a:gd name="T26" fmla="*/ 456 w 460"/>
                <a:gd name="T27" fmla="*/ 144 h 405"/>
                <a:gd name="T28" fmla="*/ 456 w 460"/>
                <a:gd name="T29" fmla="*/ 144 h 405"/>
                <a:gd name="T30" fmla="*/ 423 w 460"/>
                <a:gd name="T31" fmla="*/ 195 h 405"/>
                <a:gd name="T32" fmla="*/ 380 w 460"/>
                <a:gd name="T33" fmla="*/ 297 h 405"/>
                <a:gd name="T34" fmla="*/ 299 w 460"/>
                <a:gd name="T35" fmla="*/ 350 h 405"/>
                <a:gd name="T36" fmla="*/ 240 w 460"/>
                <a:gd name="T37" fmla="*/ 355 h 405"/>
                <a:gd name="T38" fmla="*/ 240 w 460"/>
                <a:gd name="T39" fmla="*/ 355 h 405"/>
                <a:gd name="T40" fmla="*/ 127 w 460"/>
                <a:gd name="T41" fmla="*/ 281 h 405"/>
                <a:gd name="T42" fmla="*/ 95 w 460"/>
                <a:gd name="T43" fmla="*/ 212 h 405"/>
                <a:gd name="T44" fmla="*/ 103 w 460"/>
                <a:gd name="T45" fmla="*/ 167 h 405"/>
                <a:gd name="T46" fmla="*/ 143 w 460"/>
                <a:gd name="T47" fmla="*/ 112 h 405"/>
                <a:gd name="T48" fmla="*/ 186 w 460"/>
                <a:gd name="T49" fmla="*/ 78 h 405"/>
                <a:gd name="T50" fmla="*/ 339 w 460"/>
                <a:gd name="T51" fmla="*/ 66 h 405"/>
                <a:gd name="T52" fmla="*/ 423 w 460"/>
                <a:gd name="T53" fmla="*/ 180 h 405"/>
                <a:gd name="T54" fmla="*/ 423 w 460"/>
                <a:gd name="T55" fmla="*/ 195 h 405"/>
                <a:gd name="T56" fmla="*/ 423 w 460"/>
                <a:gd name="T57" fmla="*/ 195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60" h="405">
                  <a:moveTo>
                    <a:pt x="456" y="144"/>
                  </a:moveTo>
                  <a:cubicBezTo>
                    <a:pt x="447" y="102"/>
                    <a:pt x="423" y="64"/>
                    <a:pt x="389" y="39"/>
                  </a:cubicBezTo>
                  <a:cubicBezTo>
                    <a:pt x="350" y="11"/>
                    <a:pt x="299" y="0"/>
                    <a:pt x="253" y="3"/>
                  </a:cubicBezTo>
                  <a:cubicBezTo>
                    <a:pt x="226" y="5"/>
                    <a:pt x="200" y="11"/>
                    <a:pt x="175" y="21"/>
                  </a:cubicBezTo>
                  <a:cubicBezTo>
                    <a:pt x="151" y="31"/>
                    <a:pt x="129" y="44"/>
                    <a:pt x="107" y="59"/>
                  </a:cubicBezTo>
                  <a:cubicBezTo>
                    <a:pt x="77" y="80"/>
                    <a:pt x="48" y="106"/>
                    <a:pt x="28" y="137"/>
                  </a:cubicBezTo>
                  <a:cubicBezTo>
                    <a:pt x="7" y="171"/>
                    <a:pt x="0" y="210"/>
                    <a:pt x="12" y="248"/>
                  </a:cubicBezTo>
                  <a:cubicBezTo>
                    <a:pt x="23" y="284"/>
                    <a:pt x="48" y="316"/>
                    <a:pt x="76" y="340"/>
                  </a:cubicBezTo>
                  <a:cubicBezTo>
                    <a:pt x="108" y="367"/>
                    <a:pt x="145" y="389"/>
                    <a:pt x="186" y="398"/>
                  </a:cubicBezTo>
                  <a:cubicBezTo>
                    <a:pt x="205" y="403"/>
                    <a:pt x="224" y="405"/>
                    <a:pt x="243" y="404"/>
                  </a:cubicBezTo>
                  <a:cubicBezTo>
                    <a:pt x="264" y="402"/>
                    <a:pt x="286" y="398"/>
                    <a:pt x="306" y="390"/>
                  </a:cubicBezTo>
                  <a:cubicBezTo>
                    <a:pt x="350" y="374"/>
                    <a:pt x="388" y="344"/>
                    <a:pt x="416" y="307"/>
                  </a:cubicBezTo>
                  <a:cubicBezTo>
                    <a:pt x="444" y="270"/>
                    <a:pt x="460" y="225"/>
                    <a:pt x="460" y="179"/>
                  </a:cubicBezTo>
                  <a:cubicBezTo>
                    <a:pt x="460" y="167"/>
                    <a:pt x="459" y="155"/>
                    <a:pt x="456" y="144"/>
                  </a:cubicBezTo>
                  <a:cubicBezTo>
                    <a:pt x="453" y="127"/>
                    <a:pt x="460" y="160"/>
                    <a:pt x="456" y="144"/>
                  </a:cubicBezTo>
                  <a:close/>
                  <a:moveTo>
                    <a:pt x="423" y="195"/>
                  </a:moveTo>
                  <a:cubicBezTo>
                    <a:pt x="422" y="232"/>
                    <a:pt x="404" y="270"/>
                    <a:pt x="380" y="297"/>
                  </a:cubicBezTo>
                  <a:cubicBezTo>
                    <a:pt x="358" y="322"/>
                    <a:pt x="330" y="340"/>
                    <a:pt x="299" y="350"/>
                  </a:cubicBezTo>
                  <a:cubicBezTo>
                    <a:pt x="280" y="356"/>
                    <a:pt x="260" y="357"/>
                    <a:pt x="240" y="355"/>
                  </a:cubicBezTo>
                  <a:cubicBezTo>
                    <a:pt x="240" y="355"/>
                    <a:pt x="240" y="355"/>
                    <a:pt x="240" y="355"/>
                  </a:cubicBezTo>
                  <a:cubicBezTo>
                    <a:pt x="193" y="349"/>
                    <a:pt x="156" y="317"/>
                    <a:pt x="127" y="281"/>
                  </a:cubicBezTo>
                  <a:cubicBezTo>
                    <a:pt x="111" y="262"/>
                    <a:pt x="98" y="238"/>
                    <a:pt x="95" y="212"/>
                  </a:cubicBezTo>
                  <a:cubicBezTo>
                    <a:pt x="94" y="197"/>
                    <a:pt x="97" y="181"/>
                    <a:pt x="103" y="167"/>
                  </a:cubicBezTo>
                  <a:cubicBezTo>
                    <a:pt x="112" y="146"/>
                    <a:pt x="127" y="128"/>
                    <a:pt x="143" y="112"/>
                  </a:cubicBezTo>
                  <a:cubicBezTo>
                    <a:pt x="156" y="99"/>
                    <a:pt x="170" y="87"/>
                    <a:pt x="186" y="78"/>
                  </a:cubicBezTo>
                  <a:cubicBezTo>
                    <a:pt x="232" y="51"/>
                    <a:pt x="289" y="46"/>
                    <a:pt x="339" y="66"/>
                  </a:cubicBezTo>
                  <a:cubicBezTo>
                    <a:pt x="385" y="85"/>
                    <a:pt x="421" y="129"/>
                    <a:pt x="423" y="180"/>
                  </a:cubicBezTo>
                  <a:cubicBezTo>
                    <a:pt x="423" y="185"/>
                    <a:pt x="423" y="190"/>
                    <a:pt x="423" y="195"/>
                  </a:cubicBezTo>
                  <a:cubicBezTo>
                    <a:pt x="423" y="197"/>
                    <a:pt x="423" y="194"/>
                    <a:pt x="423" y="195"/>
                  </a:cubicBezTo>
                  <a:close/>
                </a:path>
              </a:pathLst>
            </a:custGeom>
            <a:solidFill>
              <a:srgbClr val="FFFFFF">
                <a:alpha val="3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</a:endParaRPr>
            </a:p>
          </p:txBody>
        </p:sp>
        <p:sp>
          <p:nvSpPr>
            <p:cNvPr id="7" name="Freeform 88">
              <a:extLst>
                <a:ext uri="{FF2B5EF4-FFF2-40B4-BE49-F238E27FC236}">
                  <a16:creationId xmlns:a16="http://schemas.microsoft.com/office/drawing/2014/main" id="{A212977E-696E-EDFE-8BC5-F19F477547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64300" y="-77012"/>
              <a:ext cx="12148525" cy="10716021"/>
            </a:xfrm>
            <a:custGeom>
              <a:avLst/>
              <a:gdLst>
                <a:gd name="T0" fmla="*/ 456 w 460"/>
                <a:gd name="T1" fmla="*/ 144 h 405"/>
                <a:gd name="T2" fmla="*/ 389 w 460"/>
                <a:gd name="T3" fmla="*/ 39 h 405"/>
                <a:gd name="T4" fmla="*/ 253 w 460"/>
                <a:gd name="T5" fmla="*/ 3 h 405"/>
                <a:gd name="T6" fmla="*/ 175 w 460"/>
                <a:gd name="T7" fmla="*/ 21 h 405"/>
                <a:gd name="T8" fmla="*/ 107 w 460"/>
                <a:gd name="T9" fmla="*/ 59 h 405"/>
                <a:gd name="T10" fmla="*/ 28 w 460"/>
                <a:gd name="T11" fmla="*/ 137 h 405"/>
                <a:gd name="T12" fmla="*/ 12 w 460"/>
                <a:gd name="T13" fmla="*/ 248 h 405"/>
                <a:gd name="T14" fmla="*/ 76 w 460"/>
                <a:gd name="T15" fmla="*/ 340 h 405"/>
                <a:gd name="T16" fmla="*/ 186 w 460"/>
                <a:gd name="T17" fmla="*/ 398 h 405"/>
                <a:gd name="T18" fmla="*/ 243 w 460"/>
                <a:gd name="T19" fmla="*/ 404 h 405"/>
                <a:gd name="T20" fmla="*/ 306 w 460"/>
                <a:gd name="T21" fmla="*/ 390 h 405"/>
                <a:gd name="T22" fmla="*/ 416 w 460"/>
                <a:gd name="T23" fmla="*/ 307 h 405"/>
                <a:gd name="T24" fmla="*/ 460 w 460"/>
                <a:gd name="T25" fmla="*/ 179 h 405"/>
                <a:gd name="T26" fmla="*/ 456 w 460"/>
                <a:gd name="T27" fmla="*/ 144 h 405"/>
                <a:gd name="T28" fmla="*/ 456 w 460"/>
                <a:gd name="T29" fmla="*/ 144 h 405"/>
                <a:gd name="T30" fmla="*/ 423 w 460"/>
                <a:gd name="T31" fmla="*/ 195 h 405"/>
                <a:gd name="T32" fmla="*/ 380 w 460"/>
                <a:gd name="T33" fmla="*/ 297 h 405"/>
                <a:gd name="T34" fmla="*/ 299 w 460"/>
                <a:gd name="T35" fmla="*/ 350 h 405"/>
                <a:gd name="T36" fmla="*/ 240 w 460"/>
                <a:gd name="T37" fmla="*/ 355 h 405"/>
                <a:gd name="T38" fmla="*/ 240 w 460"/>
                <a:gd name="T39" fmla="*/ 355 h 405"/>
                <a:gd name="T40" fmla="*/ 127 w 460"/>
                <a:gd name="T41" fmla="*/ 281 h 405"/>
                <a:gd name="T42" fmla="*/ 95 w 460"/>
                <a:gd name="T43" fmla="*/ 212 h 405"/>
                <a:gd name="T44" fmla="*/ 103 w 460"/>
                <a:gd name="T45" fmla="*/ 167 h 405"/>
                <a:gd name="T46" fmla="*/ 143 w 460"/>
                <a:gd name="T47" fmla="*/ 112 h 405"/>
                <a:gd name="T48" fmla="*/ 186 w 460"/>
                <a:gd name="T49" fmla="*/ 78 h 405"/>
                <a:gd name="T50" fmla="*/ 339 w 460"/>
                <a:gd name="T51" fmla="*/ 66 h 405"/>
                <a:gd name="T52" fmla="*/ 423 w 460"/>
                <a:gd name="T53" fmla="*/ 180 h 405"/>
                <a:gd name="T54" fmla="*/ 423 w 460"/>
                <a:gd name="T55" fmla="*/ 195 h 405"/>
                <a:gd name="T56" fmla="*/ 423 w 460"/>
                <a:gd name="T57" fmla="*/ 195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60" h="405">
                  <a:moveTo>
                    <a:pt x="456" y="144"/>
                  </a:moveTo>
                  <a:cubicBezTo>
                    <a:pt x="447" y="102"/>
                    <a:pt x="423" y="64"/>
                    <a:pt x="389" y="39"/>
                  </a:cubicBezTo>
                  <a:cubicBezTo>
                    <a:pt x="350" y="11"/>
                    <a:pt x="299" y="0"/>
                    <a:pt x="253" y="3"/>
                  </a:cubicBezTo>
                  <a:cubicBezTo>
                    <a:pt x="226" y="5"/>
                    <a:pt x="200" y="11"/>
                    <a:pt x="175" y="21"/>
                  </a:cubicBezTo>
                  <a:cubicBezTo>
                    <a:pt x="151" y="31"/>
                    <a:pt x="129" y="44"/>
                    <a:pt x="107" y="59"/>
                  </a:cubicBezTo>
                  <a:cubicBezTo>
                    <a:pt x="77" y="80"/>
                    <a:pt x="48" y="106"/>
                    <a:pt x="28" y="137"/>
                  </a:cubicBezTo>
                  <a:cubicBezTo>
                    <a:pt x="7" y="171"/>
                    <a:pt x="0" y="210"/>
                    <a:pt x="12" y="248"/>
                  </a:cubicBezTo>
                  <a:cubicBezTo>
                    <a:pt x="23" y="284"/>
                    <a:pt x="48" y="316"/>
                    <a:pt x="76" y="340"/>
                  </a:cubicBezTo>
                  <a:cubicBezTo>
                    <a:pt x="108" y="367"/>
                    <a:pt x="145" y="389"/>
                    <a:pt x="186" y="398"/>
                  </a:cubicBezTo>
                  <a:cubicBezTo>
                    <a:pt x="205" y="403"/>
                    <a:pt x="224" y="405"/>
                    <a:pt x="243" y="404"/>
                  </a:cubicBezTo>
                  <a:cubicBezTo>
                    <a:pt x="264" y="402"/>
                    <a:pt x="286" y="398"/>
                    <a:pt x="306" y="390"/>
                  </a:cubicBezTo>
                  <a:cubicBezTo>
                    <a:pt x="350" y="374"/>
                    <a:pt x="388" y="344"/>
                    <a:pt x="416" y="307"/>
                  </a:cubicBezTo>
                  <a:cubicBezTo>
                    <a:pt x="444" y="270"/>
                    <a:pt x="460" y="225"/>
                    <a:pt x="460" y="179"/>
                  </a:cubicBezTo>
                  <a:cubicBezTo>
                    <a:pt x="460" y="167"/>
                    <a:pt x="459" y="155"/>
                    <a:pt x="456" y="144"/>
                  </a:cubicBezTo>
                  <a:cubicBezTo>
                    <a:pt x="453" y="127"/>
                    <a:pt x="460" y="160"/>
                    <a:pt x="456" y="144"/>
                  </a:cubicBezTo>
                  <a:close/>
                  <a:moveTo>
                    <a:pt x="423" y="195"/>
                  </a:moveTo>
                  <a:cubicBezTo>
                    <a:pt x="422" y="232"/>
                    <a:pt x="404" y="270"/>
                    <a:pt x="380" y="297"/>
                  </a:cubicBezTo>
                  <a:cubicBezTo>
                    <a:pt x="358" y="322"/>
                    <a:pt x="330" y="340"/>
                    <a:pt x="299" y="350"/>
                  </a:cubicBezTo>
                  <a:cubicBezTo>
                    <a:pt x="280" y="356"/>
                    <a:pt x="260" y="357"/>
                    <a:pt x="240" y="355"/>
                  </a:cubicBezTo>
                  <a:cubicBezTo>
                    <a:pt x="240" y="355"/>
                    <a:pt x="240" y="355"/>
                    <a:pt x="240" y="355"/>
                  </a:cubicBezTo>
                  <a:cubicBezTo>
                    <a:pt x="193" y="349"/>
                    <a:pt x="156" y="317"/>
                    <a:pt x="127" y="281"/>
                  </a:cubicBezTo>
                  <a:cubicBezTo>
                    <a:pt x="111" y="262"/>
                    <a:pt x="98" y="238"/>
                    <a:pt x="95" y="212"/>
                  </a:cubicBezTo>
                  <a:cubicBezTo>
                    <a:pt x="94" y="197"/>
                    <a:pt x="97" y="181"/>
                    <a:pt x="103" y="167"/>
                  </a:cubicBezTo>
                  <a:cubicBezTo>
                    <a:pt x="112" y="146"/>
                    <a:pt x="127" y="128"/>
                    <a:pt x="143" y="112"/>
                  </a:cubicBezTo>
                  <a:cubicBezTo>
                    <a:pt x="156" y="99"/>
                    <a:pt x="170" y="87"/>
                    <a:pt x="186" y="78"/>
                  </a:cubicBezTo>
                  <a:cubicBezTo>
                    <a:pt x="232" y="51"/>
                    <a:pt x="289" y="46"/>
                    <a:pt x="339" y="66"/>
                  </a:cubicBezTo>
                  <a:cubicBezTo>
                    <a:pt x="385" y="85"/>
                    <a:pt x="421" y="129"/>
                    <a:pt x="423" y="180"/>
                  </a:cubicBezTo>
                  <a:cubicBezTo>
                    <a:pt x="423" y="185"/>
                    <a:pt x="423" y="190"/>
                    <a:pt x="423" y="195"/>
                  </a:cubicBezTo>
                  <a:cubicBezTo>
                    <a:pt x="423" y="197"/>
                    <a:pt x="423" y="194"/>
                    <a:pt x="423" y="195"/>
                  </a:cubicBezTo>
                  <a:close/>
                </a:path>
              </a:pathLst>
            </a:custGeom>
            <a:solidFill>
              <a:srgbClr val="FFFFFF">
                <a:alpha val="6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621FBB9-803C-9D34-B4F3-F5D26E9E140F}"/>
              </a:ext>
            </a:extLst>
          </p:cNvPr>
          <p:cNvGrpSpPr/>
          <p:nvPr userDrawn="1"/>
        </p:nvGrpSpPr>
        <p:grpSpPr>
          <a:xfrm>
            <a:off x="-3380338" y="-3941530"/>
            <a:ext cx="15412825" cy="16074031"/>
            <a:chOff x="0" y="-77012"/>
            <a:chExt cx="15412825" cy="16074031"/>
          </a:xfrm>
        </p:grpSpPr>
        <p:grpSp>
          <p:nvGrpSpPr>
            <p:cNvPr id="16" name="Group 84">
              <a:extLst>
                <a:ext uri="{FF2B5EF4-FFF2-40B4-BE49-F238E27FC236}">
                  <a16:creationId xmlns:a16="http://schemas.microsoft.com/office/drawing/2014/main" id="{793803AF-F5CC-4347-1A4E-E085565F288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0" y="5280998"/>
              <a:ext cx="12148525" cy="10716021"/>
              <a:chOff x="3286" y="1675"/>
              <a:chExt cx="1094" cy="965"/>
            </a:xfrm>
            <a:solidFill>
              <a:srgbClr val="FFFFFF">
                <a:alpha val="3000"/>
              </a:srgbClr>
            </a:solidFill>
          </p:grpSpPr>
          <p:sp>
            <p:nvSpPr>
              <p:cNvPr id="29" name="Freeform 85">
                <a:extLst>
                  <a:ext uri="{FF2B5EF4-FFF2-40B4-BE49-F238E27FC236}">
                    <a16:creationId xmlns:a16="http://schemas.microsoft.com/office/drawing/2014/main" id="{C4CA63A8-9D19-8D26-EBBA-695EBF03F7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84" y="1685"/>
                <a:ext cx="910" cy="838"/>
              </a:xfrm>
              <a:custGeom>
                <a:avLst/>
                <a:gdLst>
                  <a:gd name="T0" fmla="*/ 233 w 383"/>
                  <a:gd name="T1" fmla="*/ 49 h 352"/>
                  <a:gd name="T2" fmla="*/ 212 w 383"/>
                  <a:gd name="T3" fmla="*/ 51 h 352"/>
                  <a:gd name="T4" fmla="*/ 151 w 383"/>
                  <a:gd name="T5" fmla="*/ 70 h 352"/>
                  <a:gd name="T6" fmla="*/ 187 w 383"/>
                  <a:gd name="T7" fmla="*/ 66 h 352"/>
                  <a:gd name="T8" fmla="*/ 189 w 383"/>
                  <a:gd name="T9" fmla="*/ 66 h 352"/>
                  <a:gd name="T10" fmla="*/ 198 w 383"/>
                  <a:gd name="T11" fmla="*/ 67 h 352"/>
                  <a:gd name="T12" fmla="*/ 225 w 383"/>
                  <a:gd name="T13" fmla="*/ 74 h 352"/>
                  <a:gd name="T14" fmla="*/ 270 w 383"/>
                  <a:gd name="T15" fmla="*/ 102 h 352"/>
                  <a:gd name="T16" fmla="*/ 319 w 383"/>
                  <a:gd name="T17" fmla="*/ 164 h 352"/>
                  <a:gd name="T18" fmla="*/ 328 w 383"/>
                  <a:gd name="T19" fmla="*/ 202 h 352"/>
                  <a:gd name="T20" fmla="*/ 328 w 383"/>
                  <a:gd name="T21" fmla="*/ 201 h 352"/>
                  <a:gd name="T22" fmla="*/ 303 w 383"/>
                  <a:gd name="T23" fmla="*/ 278 h 352"/>
                  <a:gd name="T24" fmla="*/ 245 w 383"/>
                  <a:gd name="T25" fmla="*/ 333 h 352"/>
                  <a:gd name="T26" fmla="*/ 192 w 383"/>
                  <a:gd name="T27" fmla="*/ 350 h 352"/>
                  <a:gd name="T28" fmla="*/ 199 w 383"/>
                  <a:gd name="T29" fmla="*/ 351 h 352"/>
                  <a:gd name="T30" fmla="*/ 199 w 383"/>
                  <a:gd name="T31" fmla="*/ 351 h 352"/>
                  <a:gd name="T32" fmla="*/ 215 w 383"/>
                  <a:gd name="T33" fmla="*/ 352 h 352"/>
                  <a:gd name="T34" fmla="*/ 253 w 383"/>
                  <a:gd name="T35" fmla="*/ 347 h 352"/>
                  <a:gd name="T36" fmla="*/ 306 w 383"/>
                  <a:gd name="T37" fmla="*/ 322 h 352"/>
                  <a:gd name="T38" fmla="*/ 371 w 383"/>
                  <a:gd name="T39" fmla="*/ 241 h 352"/>
                  <a:gd name="T40" fmla="*/ 382 w 383"/>
                  <a:gd name="T41" fmla="*/ 183 h 352"/>
                  <a:gd name="T42" fmla="*/ 382 w 383"/>
                  <a:gd name="T43" fmla="*/ 183 h 352"/>
                  <a:gd name="T44" fmla="*/ 382 w 383"/>
                  <a:gd name="T45" fmla="*/ 183 h 352"/>
                  <a:gd name="T46" fmla="*/ 382 w 383"/>
                  <a:gd name="T47" fmla="*/ 183 h 352"/>
                  <a:gd name="T48" fmla="*/ 382 w 383"/>
                  <a:gd name="T49" fmla="*/ 183 h 352"/>
                  <a:gd name="T50" fmla="*/ 332 w 383"/>
                  <a:gd name="T51" fmla="*/ 82 h 352"/>
                  <a:gd name="T52" fmla="*/ 233 w 383"/>
                  <a:gd name="T53" fmla="*/ 49 h 352"/>
                  <a:gd name="T54" fmla="*/ 382 w 383"/>
                  <a:gd name="T55" fmla="*/ 180 h 352"/>
                  <a:gd name="T56" fmla="*/ 382 w 383"/>
                  <a:gd name="T57" fmla="*/ 183 h 352"/>
                  <a:gd name="T58" fmla="*/ 382 w 383"/>
                  <a:gd name="T59" fmla="*/ 183 h 352"/>
                  <a:gd name="T60" fmla="*/ 382 w 383"/>
                  <a:gd name="T61" fmla="*/ 183 h 352"/>
                  <a:gd name="T62" fmla="*/ 382 w 383"/>
                  <a:gd name="T63" fmla="*/ 184 h 352"/>
                  <a:gd name="T64" fmla="*/ 382 w 383"/>
                  <a:gd name="T65" fmla="*/ 182 h 352"/>
                  <a:gd name="T66" fmla="*/ 382 w 383"/>
                  <a:gd name="T67" fmla="*/ 180 h 352"/>
                  <a:gd name="T68" fmla="*/ 207 w 383"/>
                  <a:gd name="T69" fmla="*/ 0 h 352"/>
                  <a:gd name="T70" fmla="*/ 200 w 383"/>
                  <a:gd name="T71" fmla="*/ 0 h 352"/>
                  <a:gd name="T72" fmla="*/ 200 w 383"/>
                  <a:gd name="T73" fmla="*/ 0 h 352"/>
                  <a:gd name="T74" fmla="*/ 200 w 383"/>
                  <a:gd name="T75" fmla="*/ 0 h 352"/>
                  <a:gd name="T76" fmla="*/ 199 w 383"/>
                  <a:gd name="T77" fmla="*/ 0 h 352"/>
                  <a:gd name="T78" fmla="*/ 30 w 383"/>
                  <a:gd name="T79" fmla="*/ 80 h 352"/>
                  <a:gd name="T80" fmla="*/ 0 w 383"/>
                  <a:gd name="T81" fmla="*/ 115 h 352"/>
                  <a:gd name="T82" fmla="*/ 59 w 383"/>
                  <a:gd name="T83" fmla="*/ 60 h 352"/>
                  <a:gd name="T84" fmla="*/ 143 w 383"/>
                  <a:gd name="T85" fmla="*/ 14 h 352"/>
                  <a:gd name="T86" fmla="*/ 207 w 383"/>
                  <a:gd name="T87" fmla="*/ 0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83" h="352">
                    <a:moveTo>
                      <a:pt x="233" y="49"/>
                    </a:moveTo>
                    <a:cubicBezTo>
                      <a:pt x="226" y="49"/>
                      <a:pt x="219" y="50"/>
                      <a:pt x="212" y="51"/>
                    </a:cubicBezTo>
                    <a:cubicBezTo>
                      <a:pt x="191" y="53"/>
                      <a:pt x="170" y="60"/>
                      <a:pt x="151" y="70"/>
                    </a:cubicBezTo>
                    <a:cubicBezTo>
                      <a:pt x="163" y="67"/>
                      <a:pt x="175" y="66"/>
                      <a:pt x="187" y="66"/>
                    </a:cubicBezTo>
                    <a:cubicBezTo>
                      <a:pt x="185" y="66"/>
                      <a:pt x="188" y="66"/>
                      <a:pt x="189" y="66"/>
                    </a:cubicBezTo>
                    <a:cubicBezTo>
                      <a:pt x="192" y="66"/>
                      <a:pt x="195" y="67"/>
                      <a:pt x="198" y="67"/>
                    </a:cubicBezTo>
                    <a:cubicBezTo>
                      <a:pt x="207" y="68"/>
                      <a:pt x="216" y="71"/>
                      <a:pt x="225" y="74"/>
                    </a:cubicBezTo>
                    <a:cubicBezTo>
                      <a:pt x="242" y="81"/>
                      <a:pt x="257" y="91"/>
                      <a:pt x="270" y="102"/>
                    </a:cubicBezTo>
                    <a:cubicBezTo>
                      <a:pt x="291" y="119"/>
                      <a:pt x="309" y="139"/>
                      <a:pt x="319" y="164"/>
                    </a:cubicBezTo>
                    <a:cubicBezTo>
                      <a:pt x="325" y="176"/>
                      <a:pt x="327" y="189"/>
                      <a:pt x="328" y="202"/>
                    </a:cubicBezTo>
                    <a:cubicBezTo>
                      <a:pt x="328" y="201"/>
                      <a:pt x="328" y="201"/>
                      <a:pt x="328" y="201"/>
                    </a:cubicBezTo>
                    <a:cubicBezTo>
                      <a:pt x="328" y="229"/>
                      <a:pt x="318" y="255"/>
                      <a:pt x="303" y="278"/>
                    </a:cubicBezTo>
                    <a:cubicBezTo>
                      <a:pt x="287" y="300"/>
                      <a:pt x="268" y="319"/>
                      <a:pt x="245" y="333"/>
                    </a:cubicBezTo>
                    <a:cubicBezTo>
                      <a:pt x="229" y="342"/>
                      <a:pt x="211" y="348"/>
                      <a:pt x="192" y="350"/>
                    </a:cubicBezTo>
                    <a:cubicBezTo>
                      <a:pt x="194" y="351"/>
                      <a:pt x="197" y="351"/>
                      <a:pt x="199" y="351"/>
                    </a:cubicBezTo>
                    <a:cubicBezTo>
                      <a:pt x="199" y="351"/>
                      <a:pt x="199" y="351"/>
                      <a:pt x="199" y="351"/>
                    </a:cubicBezTo>
                    <a:cubicBezTo>
                      <a:pt x="204" y="352"/>
                      <a:pt x="210" y="352"/>
                      <a:pt x="215" y="352"/>
                    </a:cubicBezTo>
                    <a:cubicBezTo>
                      <a:pt x="227" y="352"/>
                      <a:pt x="240" y="351"/>
                      <a:pt x="253" y="347"/>
                    </a:cubicBezTo>
                    <a:cubicBezTo>
                      <a:pt x="272" y="342"/>
                      <a:pt x="290" y="333"/>
                      <a:pt x="306" y="322"/>
                    </a:cubicBezTo>
                    <a:cubicBezTo>
                      <a:pt x="335" y="302"/>
                      <a:pt x="358" y="273"/>
                      <a:pt x="371" y="241"/>
                    </a:cubicBezTo>
                    <a:cubicBezTo>
                      <a:pt x="378" y="223"/>
                      <a:pt x="383" y="202"/>
                      <a:pt x="382" y="183"/>
                    </a:cubicBezTo>
                    <a:cubicBezTo>
                      <a:pt x="382" y="183"/>
                      <a:pt x="382" y="183"/>
                      <a:pt x="382" y="183"/>
                    </a:cubicBezTo>
                    <a:cubicBezTo>
                      <a:pt x="382" y="183"/>
                      <a:pt x="382" y="183"/>
                      <a:pt x="382" y="183"/>
                    </a:cubicBezTo>
                    <a:cubicBezTo>
                      <a:pt x="382" y="183"/>
                      <a:pt x="382" y="183"/>
                      <a:pt x="382" y="183"/>
                    </a:cubicBezTo>
                    <a:cubicBezTo>
                      <a:pt x="382" y="183"/>
                      <a:pt x="382" y="183"/>
                      <a:pt x="382" y="183"/>
                    </a:cubicBezTo>
                    <a:cubicBezTo>
                      <a:pt x="383" y="143"/>
                      <a:pt x="362" y="106"/>
                      <a:pt x="332" y="82"/>
                    </a:cubicBezTo>
                    <a:cubicBezTo>
                      <a:pt x="304" y="60"/>
                      <a:pt x="268" y="49"/>
                      <a:pt x="233" y="49"/>
                    </a:cubicBezTo>
                    <a:moveTo>
                      <a:pt x="382" y="180"/>
                    </a:moveTo>
                    <a:cubicBezTo>
                      <a:pt x="382" y="180"/>
                      <a:pt x="382" y="181"/>
                      <a:pt x="382" y="183"/>
                    </a:cubicBezTo>
                    <a:cubicBezTo>
                      <a:pt x="382" y="183"/>
                      <a:pt x="382" y="183"/>
                      <a:pt x="382" y="183"/>
                    </a:cubicBezTo>
                    <a:cubicBezTo>
                      <a:pt x="382" y="183"/>
                      <a:pt x="382" y="183"/>
                      <a:pt x="382" y="183"/>
                    </a:cubicBezTo>
                    <a:cubicBezTo>
                      <a:pt x="382" y="183"/>
                      <a:pt x="382" y="184"/>
                      <a:pt x="382" y="184"/>
                    </a:cubicBezTo>
                    <a:cubicBezTo>
                      <a:pt x="382" y="184"/>
                      <a:pt x="382" y="183"/>
                      <a:pt x="382" y="182"/>
                    </a:cubicBezTo>
                    <a:cubicBezTo>
                      <a:pt x="382" y="181"/>
                      <a:pt x="382" y="180"/>
                      <a:pt x="382" y="180"/>
                    </a:cubicBezTo>
                    <a:moveTo>
                      <a:pt x="207" y="0"/>
                    </a:moveTo>
                    <a:cubicBezTo>
                      <a:pt x="204" y="0"/>
                      <a:pt x="202" y="0"/>
                      <a:pt x="200" y="0"/>
                    </a:cubicBezTo>
                    <a:cubicBezTo>
                      <a:pt x="200" y="0"/>
                      <a:pt x="200" y="0"/>
                      <a:pt x="200" y="0"/>
                    </a:cubicBezTo>
                    <a:cubicBezTo>
                      <a:pt x="200" y="0"/>
                      <a:pt x="200" y="0"/>
                      <a:pt x="200" y="0"/>
                    </a:cubicBezTo>
                    <a:cubicBezTo>
                      <a:pt x="200" y="0"/>
                      <a:pt x="199" y="0"/>
                      <a:pt x="199" y="0"/>
                    </a:cubicBezTo>
                    <a:cubicBezTo>
                      <a:pt x="136" y="6"/>
                      <a:pt x="75" y="36"/>
                      <a:pt x="30" y="80"/>
                    </a:cubicBezTo>
                    <a:cubicBezTo>
                      <a:pt x="19" y="91"/>
                      <a:pt x="9" y="102"/>
                      <a:pt x="0" y="115"/>
                    </a:cubicBezTo>
                    <a:cubicBezTo>
                      <a:pt x="17" y="94"/>
                      <a:pt x="37" y="76"/>
                      <a:pt x="59" y="60"/>
                    </a:cubicBezTo>
                    <a:cubicBezTo>
                      <a:pt x="85" y="41"/>
                      <a:pt x="113" y="24"/>
                      <a:pt x="143" y="14"/>
                    </a:cubicBezTo>
                    <a:cubicBezTo>
                      <a:pt x="164" y="6"/>
                      <a:pt x="185" y="1"/>
                      <a:pt x="207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0" name="Freeform 86">
                <a:extLst>
                  <a:ext uri="{FF2B5EF4-FFF2-40B4-BE49-F238E27FC236}">
                    <a16:creationId xmlns:a16="http://schemas.microsoft.com/office/drawing/2014/main" id="{26751EC2-87F1-CE95-228F-2788A2D5FD6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47" y="2425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close/>
                    <a:moveTo>
                      <a:pt x="0" y="0"/>
                    </a:move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1" name="Freeform 87">
                <a:extLst>
                  <a:ext uri="{FF2B5EF4-FFF2-40B4-BE49-F238E27FC236}">
                    <a16:creationId xmlns:a16="http://schemas.microsoft.com/office/drawing/2014/main" id="{3FEDB481-E692-03B0-8EE5-9EE148178F4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47" y="2425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moveTo>
                      <a:pt x="0" y="0"/>
                    </a:moveTo>
                    <a:lnTo>
                      <a:pt x="0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2" name="Freeform 88">
                <a:extLst>
                  <a:ext uri="{FF2B5EF4-FFF2-40B4-BE49-F238E27FC236}">
                    <a16:creationId xmlns:a16="http://schemas.microsoft.com/office/drawing/2014/main" id="{41B3AB02-6D91-58C8-A335-84C911B35AE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86" y="1675"/>
                <a:ext cx="1094" cy="965"/>
              </a:xfrm>
              <a:custGeom>
                <a:avLst/>
                <a:gdLst>
                  <a:gd name="T0" fmla="*/ 456 w 460"/>
                  <a:gd name="T1" fmla="*/ 144 h 405"/>
                  <a:gd name="T2" fmla="*/ 389 w 460"/>
                  <a:gd name="T3" fmla="*/ 39 h 405"/>
                  <a:gd name="T4" fmla="*/ 253 w 460"/>
                  <a:gd name="T5" fmla="*/ 3 h 405"/>
                  <a:gd name="T6" fmla="*/ 175 w 460"/>
                  <a:gd name="T7" fmla="*/ 21 h 405"/>
                  <a:gd name="T8" fmla="*/ 107 w 460"/>
                  <a:gd name="T9" fmla="*/ 59 h 405"/>
                  <a:gd name="T10" fmla="*/ 28 w 460"/>
                  <a:gd name="T11" fmla="*/ 137 h 405"/>
                  <a:gd name="T12" fmla="*/ 12 w 460"/>
                  <a:gd name="T13" fmla="*/ 248 h 405"/>
                  <a:gd name="T14" fmla="*/ 76 w 460"/>
                  <a:gd name="T15" fmla="*/ 340 h 405"/>
                  <a:gd name="T16" fmla="*/ 186 w 460"/>
                  <a:gd name="T17" fmla="*/ 398 h 405"/>
                  <a:gd name="T18" fmla="*/ 243 w 460"/>
                  <a:gd name="T19" fmla="*/ 404 h 405"/>
                  <a:gd name="T20" fmla="*/ 306 w 460"/>
                  <a:gd name="T21" fmla="*/ 390 h 405"/>
                  <a:gd name="T22" fmla="*/ 416 w 460"/>
                  <a:gd name="T23" fmla="*/ 307 h 405"/>
                  <a:gd name="T24" fmla="*/ 460 w 460"/>
                  <a:gd name="T25" fmla="*/ 179 h 405"/>
                  <a:gd name="T26" fmla="*/ 456 w 460"/>
                  <a:gd name="T27" fmla="*/ 144 h 405"/>
                  <a:gd name="T28" fmla="*/ 456 w 460"/>
                  <a:gd name="T29" fmla="*/ 144 h 405"/>
                  <a:gd name="T30" fmla="*/ 423 w 460"/>
                  <a:gd name="T31" fmla="*/ 195 h 405"/>
                  <a:gd name="T32" fmla="*/ 380 w 460"/>
                  <a:gd name="T33" fmla="*/ 297 h 405"/>
                  <a:gd name="T34" fmla="*/ 299 w 460"/>
                  <a:gd name="T35" fmla="*/ 350 h 405"/>
                  <a:gd name="T36" fmla="*/ 240 w 460"/>
                  <a:gd name="T37" fmla="*/ 355 h 405"/>
                  <a:gd name="T38" fmla="*/ 240 w 460"/>
                  <a:gd name="T39" fmla="*/ 355 h 405"/>
                  <a:gd name="T40" fmla="*/ 127 w 460"/>
                  <a:gd name="T41" fmla="*/ 281 h 405"/>
                  <a:gd name="T42" fmla="*/ 95 w 460"/>
                  <a:gd name="T43" fmla="*/ 212 h 405"/>
                  <a:gd name="T44" fmla="*/ 103 w 460"/>
                  <a:gd name="T45" fmla="*/ 167 h 405"/>
                  <a:gd name="T46" fmla="*/ 143 w 460"/>
                  <a:gd name="T47" fmla="*/ 112 h 405"/>
                  <a:gd name="T48" fmla="*/ 186 w 460"/>
                  <a:gd name="T49" fmla="*/ 78 h 405"/>
                  <a:gd name="T50" fmla="*/ 339 w 460"/>
                  <a:gd name="T51" fmla="*/ 66 h 405"/>
                  <a:gd name="T52" fmla="*/ 423 w 460"/>
                  <a:gd name="T53" fmla="*/ 180 h 405"/>
                  <a:gd name="T54" fmla="*/ 423 w 460"/>
                  <a:gd name="T55" fmla="*/ 195 h 405"/>
                  <a:gd name="T56" fmla="*/ 423 w 460"/>
                  <a:gd name="T57" fmla="*/ 195 h 4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60" h="405">
                    <a:moveTo>
                      <a:pt x="456" y="144"/>
                    </a:moveTo>
                    <a:cubicBezTo>
                      <a:pt x="447" y="102"/>
                      <a:pt x="423" y="64"/>
                      <a:pt x="389" y="39"/>
                    </a:cubicBezTo>
                    <a:cubicBezTo>
                      <a:pt x="350" y="11"/>
                      <a:pt x="299" y="0"/>
                      <a:pt x="253" y="3"/>
                    </a:cubicBezTo>
                    <a:cubicBezTo>
                      <a:pt x="226" y="5"/>
                      <a:pt x="200" y="11"/>
                      <a:pt x="175" y="21"/>
                    </a:cubicBezTo>
                    <a:cubicBezTo>
                      <a:pt x="151" y="31"/>
                      <a:pt x="129" y="44"/>
                      <a:pt x="107" y="59"/>
                    </a:cubicBezTo>
                    <a:cubicBezTo>
                      <a:pt x="77" y="80"/>
                      <a:pt x="48" y="106"/>
                      <a:pt x="28" y="137"/>
                    </a:cubicBezTo>
                    <a:cubicBezTo>
                      <a:pt x="7" y="171"/>
                      <a:pt x="0" y="210"/>
                      <a:pt x="12" y="248"/>
                    </a:cubicBezTo>
                    <a:cubicBezTo>
                      <a:pt x="23" y="284"/>
                      <a:pt x="48" y="316"/>
                      <a:pt x="76" y="340"/>
                    </a:cubicBezTo>
                    <a:cubicBezTo>
                      <a:pt x="108" y="367"/>
                      <a:pt x="145" y="389"/>
                      <a:pt x="186" y="398"/>
                    </a:cubicBezTo>
                    <a:cubicBezTo>
                      <a:pt x="205" y="403"/>
                      <a:pt x="224" y="405"/>
                      <a:pt x="243" y="404"/>
                    </a:cubicBezTo>
                    <a:cubicBezTo>
                      <a:pt x="264" y="402"/>
                      <a:pt x="286" y="398"/>
                      <a:pt x="306" y="390"/>
                    </a:cubicBezTo>
                    <a:cubicBezTo>
                      <a:pt x="350" y="374"/>
                      <a:pt x="388" y="344"/>
                      <a:pt x="416" y="307"/>
                    </a:cubicBezTo>
                    <a:cubicBezTo>
                      <a:pt x="444" y="270"/>
                      <a:pt x="460" y="225"/>
                      <a:pt x="460" y="179"/>
                    </a:cubicBezTo>
                    <a:cubicBezTo>
                      <a:pt x="460" y="167"/>
                      <a:pt x="459" y="155"/>
                      <a:pt x="456" y="144"/>
                    </a:cubicBezTo>
                    <a:cubicBezTo>
                      <a:pt x="453" y="127"/>
                      <a:pt x="460" y="160"/>
                      <a:pt x="456" y="144"/>
                    </a:cubicBezTo>
                    <a:close/>
                    <a:moveTo>
                      <a:pt x="423" y="195"/>
                    </a:moveTo>
                    <a:cubicBezTo>
                      <a:pt x="422" y="232"/>
                      <a:pt x="404" y="270"/>
                      <a:pt x="380" y="297"/>
                    </a:cubicBezTo>
                    <a:cubicBezTo>
                      <a:pt x="358" y="322"/>
                      <a:pt x="330" y="340"/>
                      <a:pt x="299" y="350"/>
                    </a:cubicBezTo>
                    <a:cubicBezTo>
                      <a:pt x="280" y="356"/>
                      <a:pt x="260" y="357"/>
                      <a:pt x="240" y="355"/>
                    </a:cubicBezTo>
                    <a:cubicBezTo>
                      <a:pt x="240" y="355"/>
                      <a:pt x="240" y="355"/>
                      <a:pt x="240" y="355"/>
                    </a:cubicBezTo>
                    <a:cubicBezTo>
                      <a:pt x="193" y="349"/>
                      <a:pt x="156" y="317"/>
                      <a:pt x="127" y="281"/>
                    </a:cubicBezTo>
                    <a:cubicBezTo>
                      <a:pt x="111" y="262"/>
                      <a:pt x="98" y="238"/>
                      <a:pt x="95" y="212"/>
                    </a:cubicBezTo>
                    <a:cubicBezTo>
                      <a:pt x="94" y="197"/>
                      <a:pt x="97" y="181"/>
                      <a:pt x="103" y="167"/>
                    </a:cubicBezTo>
                    <a:cubicBezTo>
                      <a:pt x="112" y="146"/>
                      <a:pt x="127" y="128"/>
                      <a:pt x="143" y="112"/>
                    </a:cubicBezTo>
                    <a:cubicBezTo>
                      <a:pt x="156" y="99"/>
                      <a:pt x="170" y="87"/>
                      <a:pt x="186" y="78"/>
                    </a:cubicBezTo>
                    <a:cubicBezTo>
                      <a:pt x="232" y="51"/>
                      <a:pt x="289" y="46"/>
                      <a:pt x="339" y="66"/>
                    </a:cubicBezTo>
                    <a:cubicBezTo>
                      <a:pt x="385" y="85"/>
                      <a:pt x="421" y="129"/>
                      <a:pt x="423" y="180"/>
                    </a:cubicBezTo>
                    <a:cubicBezTo>
                      <a:pt x="423" y="185"/>
                      <a:pt x="423" y="190"/>
                      <a:pt x="423" y="195"/>
                    </a:cubicBezTo>
                    <a:cubicBezTo>
                      <a:pt x="423" y="197"/>
                      <a:pt x="423" y="194"/>
                      <a:pt x="423" y="19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27" name="Freeform 88">
              <a:extLst>
                <a:ext uri="{FF2B5EF4-FFF2-40B4-BE49-F238E27FC236}">
                  <a16:creationId xmlns:a16="http://schemas.microsoft.com/office/drawing/2014/main" id="{7B0DDB05-9AD6-8BF6-ECE9-6E84826963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46032" y="2688184"/>
              <a:ext cx="12148525" cy="10716021"/>
            </a:xfrm>
            <a:custGeom>
              <a:avLst/>
              <a:gdLst>
                <a:gd name="T0" fmla="*/ 456 w 460"/>
                <a:gd name="T1" fmla="*/ 144 h 405"/>
                <a:gd name="T2" fmla="*/ 389 w 460"/>
                <a:gd name="T3" fmla="*/ 39 h 405"/>
                <a:gd name="T4" fmla="*/ 253 w 460"/>
                <a:gd name="T5" fmla="*/ 3 h 405"/>
                <a:gd name="T6" fmla="*/ 175 w 460"/>
                <a:gd name="T7" fmla="*/ 21 h 405"/>
                <a:gd name="T8" fmla="*/ 107 w 460"/>
                <a:gd name="T9" fmla="*/ 59 h 405"/>
                <a:gd name="T10" fmla="*/ 28 w 460"/>
                <a:gd name="T11" fmla="*/ 137 h 405"/>
                <a:gd name="T12" fmla="*/ 12 w 460"/>
                <a:gd name="T13" fmla="*/ 248 h 405"/>
                <a:gd name="T14" fmla="*/ 76 w 460"/>
                <a:gd name="T15" fmla="*/ 340 h 405"/>
                <a:gd name="T16" fmla="*/ 186 w 460"/>
                <a:gd name="T17" fmla="*/ 398 h 405"/>
                <a:gd name="T18" fmla="*/ 243 w 460"/>
                <a:gd name="T19" fmla="*/ 404 h 405"/>
                <a:gd name="T20" fmla="*/ 306 w 460"/>
                <a:gd name="T21" fmla="*/ 390 h 405"/>
                <a:gd name="T22" fmla="*/ 416 w 460"/>
                <a:gd name="T23" fmla="*/ 307 h 405"/>
                <a:gd name="T24" fmla="*/ 460 w 460"/>
                <a:gd name="T25" fmla="*/ 179 h 405"/>
                <a:gd name="T26" fmla="*/ 456 w 460"/>
                <a:gd name="T27" fmla="*/ 144 h 405"/>
                <a:gd name="T28" fmla="*/ 456 w 460"/>
                <a:gd name="T29" fmla="*/ 144 h 405"/>
                <a:gd name="T30" fmla="*/ 423 w 460"/>
                <a:gd name="T31" fmla="*/ 195 h 405"/>
                <a:gd name="T32" fmla="*/ 380 w 460"/>
                <a:gd name="T33" fmla="*/ 297 h 405"/>
                <a:gd name="T34" fmla="*/ 299 w 460"/>
                <a:gd name="T35" fmla="*/ 350 h 405"/>
                <a:gd name="T36" fmla="*/ 240 w 460"/>
                <a:gd name="T37" fmla="*/ 355 h 405"/>
                <a:gd name="T38" fmla="*/ 240 w 460"/>
                <a:gd name="T39" fmla="*/ 355 h 405"/>
                <a:gd name="T40" fmla="*/ 127 w 460"/>
                <a:gd name="T41" fmla="*/ 281 h 405"/>
                <a:gd name="T42" fmla="*/ 95 w 460"/>
                <a:gd name="T43" fmla="*/ 212 h 405"/>
                <a:gd name="T44" fmla="*/ 103 w 460"/>
                <a:gd name="T45" fmla="*/ 167 h 405"/>
                <a:gd name="T46" fmla="*/ 143 w 460"/>
                <a:gd name="T47" fmla="*/ 112 h 405"/>
                <a:gd name="T48" fmla="*/ 186 w 460"/>
                <a:gd name="T49" fmla="*/ 78 h 405"/>
                <a:gd name="T50" fmla="*/ 339 w 460"/>
                <a:gd name="T51" fmla="*/ 66 h 405"/>
                <a:gd name="T52" fmla="*/ 423 w 460"/>
                <a:gd name="T53" fmla="*/ 180 h 405"/>
                <a:gd name="T54" fmla="*/ 423 w 460"/>
                <a:gd name="T55" fmla="*/ 195 h 405"/>
                <a:gd name="T56" fmla="*/ 423 w 460"/>
                <a:gd name="T57" fmla="*/ 195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60" h="405">
                  <a:moveTo>
                    <a:pt x="456" y="144"/>
                  </a:moveTo>
                  <a:cubicBezTo>
                    <a:pt x="447" y="102"/>
                    <a:pt x="423" y="64"/>
                    <a:pt x="389" y="39"/>
                  </a:cubicBezTo>
                  <a:cubicBezTo>
                    <a:pt x="350" y="11"/>
                    <a:pt x="299" y="0"/>
                    <a:pt x="253" y="3"/>
                  </a:cubicBezTo>
                  <a:cubicBezTo>
                    <a:pt x="226" y="5"/>
                    <a:pt x="200" y="11"/>
                    <a:pt x="175" y="21"/>
                  </a:cubicBezTo>
                  <a:cubicBezTo>
                    <a:pt x="151" y="31"/>
                    <a:pt x="129" y="44"/>
                    <a:pt x="107" y="59"/>
                  </a:cubicBezTo>
                  <a:cubicBezTo>
                    <a:pt x="77" y="80"/>
                    <a:pt x="48" y="106"/>
                    <a:pt x="28" y="137"/>
                  </a:cubicBezTo>
                  <a:cubicBezTo>
                    <a:pt x="7" y="171"/>
                    <a:pt x="0" y="210"/>
                    <a:pt x="12" y="248"/>
                  </a:cubicBezTo>
                  <a:cubicBezTo>
                    <a:pt x="23" y="284"/>
                    <a:pt x="48" y="316"/>
                    <a:pt x="76" y="340"/>
                  </a:cubicBezTo>
                  <a:cubicBezTo>
                    <a:pt x="108" y="367"/>
                    <a:pt x="145" y="389"/>
                    <a:pt x="186" y="398"/>
                  </a:cubicBezTo>
                  <a:cubicBezTo>
                    <a:pt x="205" y="403"/>
                    <a:pt x="224" y="405"/>
                    <a:pt x="243" y="404"/>
                  </a:cubicBezTo>
                  <a:cubicBezTo>
                    <a:pt x="264" y="402"/>
                    <a:pt x="286" y="398"/>
                    <a:pt x="306" y="390"/>
                  </a:cubicBezTo>
                  <a:cubicBezTo>
                    <a:pt x="350" y="374"/>
                    <a:pt x="388" y="344"/>
                    <a:pt x="416" y="307"/>
                  </a:cubicBezTo>
                  <a:cubicBezTo>
                    <a:pt x="444" y="270"/>
                    <a:pt x="460" y="225"/>
                    <a:pt x="460" y="179"/>
                  </a:cubicBezTo>
                  <a:cubicBezTo>
                    <a:pt x="460" y="167"/>
                    <a:pt x="459" y="155"/>
                    <a:pt x="456" y="144"/>
                  </a:cubicBezTo>
                  <a:cubicBezTo>
                    <a:pt x="453" y="127"/>
                    <a:pt x="460" y="160"/>
                    <a:pt x="456" y="144"/>
                  </a:cubicBezTo>
                  <a:close/>
                  <a:moveTo>
                    <a:pt x="423" y="195"/>
                  </a:moveTo>
                  <a:cubicBezTo>
                    <a:pt x="422" y="232"/>
                    <a:pt x="404" y="270"/>
                    <a:pt x="380" y="297"/>
                  </a:cubicBezTo>
                  <a:cubicBezTo>
                    <a:pt x="358" y="322"/>
                    <a:pt x="330" y="340"/>
                    <a:pt x="299" y="350"/>
                  </a:cubicBezTo>
                  <a:cubicBezTo>
                    <a:pt x="280" y="356"/>
                    <a:pt x="260" y="357"/>
                    <a:pt x="240" y="355"/>
                  </a:cubicBezTo>
                  <a:cubicBezTo>
                    <a:pt x="240" y="355"/>
                    <a:pt x="240" y="355"/>
                    <a:pt x="240" y="355"/>
                  </a:cubicBezTo>
                  <a:cubicBezTo>
                    <a:pt x="193" y="349"/>
                    <a:pt x="156" y="317"/>
                    <a:pt x="127" y="281"/>
                  </a:cubicBezTo>
                  <a:cubicBezTo>
                    <a:pt x="111" y="262"/>
                    <a:pt x="98" y="238"/>
                    <a:pt x="95" y="212"/>
                  </a:cubicBezTo>
                  <a:cubicBezTo>
                    <a:pt x="94" y="197"/>
                    <a:pt x="97" y="181"/>
                    <a:pt x="103" y="167"/>
                  </a:cubicBezTo>
                  <a:cubicBezTo>
                    <a:pt x="112" y="146"/>
                    <a:pt x="127" y="128"/>
                    <a:pt x="143" y="112"/>
                  </a:cubicBezTo>
                  <a:cubicBezTo>
                    <a:pt x="156" y="99"/>
                    <a:pt x="170" y="87"/>
                    <a:pt x="186" y="78"/>
                  </a:cubicBezTo>
                  <a:cubicBezTo>
                    <a:pt x="232" y="51"/>
                    <a:pt x="289" y="46"/>
                    <a:pt x="339" y="66"/>
                  </a:cubicBezTo>
                  <a:cubicBezTo>
                    <a:pt x="385" y="85"/>
                    <a:pt x="421" y="129"/>
                    <a:pt x="423" y="180"/>
                  </a:cubicBezTo>
                  <a:cubicBezTo>
                    <a:pt x="423" y="185"/>
                    <a:pt x="423" y="190"/>
                    <a:pt x="423" y="195"/>
                  </a:cubicBezTo>
                  <a:cubicBezTo>
                    <a:pt x="423" y="197"/>
                    <a:pt x="423" y="194"/>
                    <a:pt x="423" y="195"/>
                  </a:cubicBezTo>
                  <a:close/>
                </a:path>
              </a:pathLst>
            </a:custGeom>
            <a:solidFill>
              <a:srgbClr val="FFFFFF">
                <a:alpha val="3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Freeform 88">
              <a:extLst>
                <a:ext uri="{FF2B5EF4-FFF2-40B4-BE49-F238E27FC236}">
                  <a16:creationId xmlns:a16="http://schemas.microsoft.com/office/drawing/2014/main" id="{EDBB69C1-1B90-5AB7-E893-90572DFB4D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64300" y="-77012"/>
              <a:ext cx="12148525" cy="10716021"/>
            </a:xfrm>
            <a:custGeom>
              <a:avLst/>
              <a:gdLst>
                <a:gd name="T0" fmla="*/ 456 w 460"/>
                <a:gd name="T1" fmla="*/ 144 h 405"/>
                <a:gd name="T2" fmla="*/ 389 w 460"/>
                <a:gd name="T3" fmla="*/ 39 h 405"/>
                <a:gd name="T4" fmla="*/ 253 w 460"/>
                <a:gd name="T5" fmla="*/ 3 h 405"/>
                <a:gd name="T6" fmla="*/ 175 w 460"/>
                <a:gd name="T7" fmla="*/ 21 h 405"/>
                <a:gd name="T8" fmla="*/ 107 w 460"/>
                <a:gd name="T9" fmla="*/ 59 h 405"/>
                <a:gd name="T10" fmla="*/ 28 w 460"/>
                <a:gd name="T11" fmla="*/ 137 h 405"/>
                <a:gd name="T12" fmla="*/ 12 w 460"/>
                <a:gd name="T13" fmla="*/ 248 h 405"/>
                <a:gd name="T14" fmla="*/ 76 w 460"/>
                <a:gd name="T15" fmla="*/ 340 h 405"/>
                <a:gd name="T16" fmla="*/ 186 w 460"/>
                <a:gd name="T17" fmla="*/ 398 h 405"/>
                <a:gd name="T18" fmla="*/ 243 w 460"/>
                <a:gd name="T19" fmla="*/ 404 h 405"/>
                <a:gd name="T20" fmla="*/ 306 w 460"/>
                <a:gd name="T21" fmla="*/ 390 h 405"/>
                <a:gd name="T22" fmla="*/ 416 w 460"/>
                <a:gd name="T23" fmla="*/ 307 h 405"/>
                <a:gd name="T24" fmla="*/ 460 w 460"/>
                <a:gd name="T25" fmla="*/ 179 h 405"/>
                <a:gd name="T26" fmla="*/ 456 w 460"/>
                <a:gd name="T27" fmla="*/ 144 h 405"/>
                <a:gd name="T28" fmla="*/ 456 w 460"/>
                <a:gd name="T29" fmla="*/ 144 h 405"/>
                <a:gd name="T30" fmla="*/ 423 w 460"/>
                <a:gd name="T31" fmla="*/ 195 h 405"/>
                <a:gd name="T32" fmla="*/ 380 w 460"/>
                <a:gd name="T33" fmla="*/ 297 h 405"/>
                <a:gd name="T34" fmla="*/ 299 w 460"/>
                <a:gd name="T35" fmla="*/ 350 h 405"/>
                <a:gd name="T36" fmla="*/ 240 w 460"/>
                <a:gd name="T37" fmla="*/ 355 h 405"/>
                <a:gd name="T38" fmla="*/ 240 w 460"/>
                <a:gd name="T39" fmla="*/ 355 h 405"/>
                <a:gd name="T40" fmla="*/ 127 w 460"/>
                <a:gd name="T41" fmla="*/ 281 h 405"/>
                <a:gd name="T42" fmla="*/ 95 w 460"/>
                <a:gd name="T43" fmla="*/ 212 h 405"/>
                <a:gd name="T44" fmla="*/ 103 w 460"/>
                <a:gd name="T45" fmla="*/ 167 h 405"/>
                <a:gd name="T46" fmla="*/ 143 w 460"/>
                <a:gd name="T47" fmla="*/ 112 h 405"/>
                <a:gd name="T48" fmla="*/ 186 w 460"/>
                <a:gd name="T49" fmla="*/ 78 h 405"/>
                <a:gd name="T50" fmla="*/ 339 w 460"/>
                <a:gd name="T51" fmla="*/ 66 h 405"/>
                <a:gd name="T52" fmla="*/ 423 w 460"/>
                <a:gd name="T53" fmla="*/ 180 h 405"/>
                <a:gd name="T54" fmla="*/ 423 w 460"/>
                <a:gd name="T55" fmla="*/ 195 h 405"/>
                <a:gd name="T56" fmla="*/ 423 w 460"/>
                <a:gd name="T57" fmla="*/ 195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60" h="405">
                  <a:moveTo>
                    <a:pt x="456" y="144"/>
                  </a:moveTo>
                  <a:cubicBezTo>
                    <a:pt x="447" y="102"/>
                    <a:pt x="423" y="64"/>
                    <a:pt x="389" y="39"/>
                  </a:cubicBezTo>
                  <a:cubicBezTo>
                    <a:pt x="350" y="11"/>
                    <a:pt x="299" y="0"/>
                    <a:pt x="253" y="3"/>
                  </a:cubicBezTo>
                  <a:cubicBezTo>
                    <a:pt x="226" y="5"/>
                    <a:pt x="200" y="11"/>
                    <a:pt x="175" y="21"/>
                  </a:cubicBezTo>
                  <a:cubicBezTo>
                    <a:pt x="151" y="31"/>
                    <a:pt x="129" y="44"/>
                    <a:pt x="107" y="59"/>
                  </a:cubicBezTo>
                  <a:cubicBezTo>
                    <a:pt x="77" y="80"/>
                    <a:pt x="48" y="106"/>
                    <a:pt x="28" y="137"/>
                  </a:cubicBezTo>
                  <a:cubicBezTo>
                    <a:pt x="7" y="171"/>
                    <a:pt x="0" y="210"/>
                    <a:pt x="12" y="248"/>
                  </a:cubicBezTo>
                  <a:cubicBezTo>
                    <a:pt x="23" y="284"/>
                    <a:pt x="48" y="316"/>
                    <a:pt x="76" y="340"/>
                  </a:cubicBezTo>
                  <a:cubicBezTo>
                    <a:pt x="108" y="367"/>
                    <a:pt x="145" y="389"/>
                    <a:pt x="186" y="398"/>
                  </a:cubicBezTo>
                  <a:cubicBezTo>
                    <a:pt x="205" y="403"/>
                    <a:pt x="224" y="405"/>
                    <a:pt x="243" y="404"/>
                  </a:cubicBezTo>
                  <a:cubicBezTo>
                    <a:pt x="264" y="402"/>
                    <a:pt x="286" y="398"/>
                    <a:pt x="306" y="390"/>
                  </a:cubicBezTo>
                  <a:cubicBezTo>
                    <a:pt x="350" y="374"/>
                    <a:pt x="388" y="344"/>
                    <a:pt x="416" y="307"/>
                  </a:cubicBezTo>
                  <a:cubicBezTo>
                    <a:pt x="444" y="270"/>
                    <a:pt x="460" y="225"/>
                    <a:pt x="460" y="179"/>
                  </a:cubicBezTo>
                  <a:cubicBezTo>
                    <a:pt x="460" y="167"/>
                    <a:pt x="459" y="155"/>
                    <a:pt x="456" y="144"/>
                  </a:cubicBezTo>
                  <a:cubicBezTo>
                    <a:pt x="453" y="127"/>
                    <a:pt x="460" y="160"/>
                    <a:pt x="456" y="144"/>
                  </a:cubicBezTo>
                  <a:close/>
                  <a:moveTo>
                    <a:pt x="423" y="195"/>
                  </a:moveTo>
                  <a:cubicBezTo>
                    <a:pt x="422" y="232"/>
                    <a:pt x="404" y="270"/>
                    <a:pt x="380" y="297"/>
                  </a:cubicBezTo>
                  <a:cubicBezTo>
                    <a:pt x="358" y="322"/>
                    <a:pt x="330" y="340"/>
                    <a:pt x="299" y="350"/>
                  </a:cubicBezTo>
                  <a:cubicBezTo>
                    <a:pt x="280" y="356"/>
                    <a:pt x="260" y="357"/>
                    <a:pt x="240" y="355"/>
                  </a:cubicBezTo>
                  <a:cubicBezTo>
                    <a:pt x="240" y="355"/>
                    <a:pt x="240" y="355"/>
                    <a:pt x="240" y="355"/>
                  </a:cubicBezTo>
                  <a:cubicBezTo>
                    <a:pt x="193" y="349"/>
                    <a:pt x="156" y="317"/>
                    <a:pt x="127" y="281"/>
                  </a:cubicBezTo>
                  <a:cubicBezTo>
                    <a:pt x="111" y="262"/>
                    <a:pt x="98" y="238"/>
                    <a:pt x="95" y="212"/>
                  </a:cubicBezTo>
                  <a:cubicBezTo>
                    <a:pt x="94" y="197"/>
                    <a:pt x="97" y="181"/>
                    <a:pt x="103" y="167"/>
                  </a:cubicBezTo>
                  <a:cubicBezTo>
                    <a:pt x="112" y="146"/>
                    <a:pt x="127" y="128"/>
                    <a:pt x="143" y="112"/>
                  </a:cubicBezTo>
                  <a:cubicBezTo>
                    <a:pt x="156" y="99"/>
                    <a:pt x="170" y="87"/>
                    <a:pt x="186" y="78"/>
                  </a:cubicBezTo>
                  <a:cubicBezTo>
                    <a:pt x="232" y="51"/>
                    <a:pt x="289" y="46"/>
                    <a:pt x="339" y="66"/>
                  </a:cubicBezTo>
                  <a:cubicBezTo>
                    <a:pt x="385" y="85"/>
                    <a:pt x="421" y="129"/>
                    <a:pt x="423" y="180"/>
                  </a:cubicBezTo>
                  <a:cubicBezTo>
                    <a:pt x="423" y="185"/>
                    <a:pt x="423" y="190"/>
                    <a:pt x="423" y="195"/>
                  </a:cubicBezTo>
                  <a:cubicBezTo>
                    <a:pt x="423" y="197"/>
                    <a:pt x="423" y="194"/>
                    <a:pt x="423" y="195"/>
                  </a:cubicBezTo>
                  <a:close/>
                </a:path>
              </a:pathLst>
            </a:custGeom>
            <a:solidFill>
              <a:srgbClr val="FFFFFF">
                <a:alpha val="6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8" name="Title 1">
            <a:extLst>
              <a:ext uri="{FF2B5EF4-FFF2-40B4-BE49-F238E27FC236}">
                <a16:creationId xmlns:a16="http://schemas.microsoft.com/office/drawing/2014/main" id="{A4FD4A1D-FB5D-DFC1-550E-EE0E1BDCA54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94760" y="3429000"/>
            <a:ext cx="7741920" cy="2131368"/>
          </a:xfrm>
          <a:solidFill>
            <a:srgbClr val="FFFFFF">
              <a:alpha val="60000"/>
            </a:srgbClr>
          </a:solidFill>
        </p:spPr>
        <p:txBody>
          <a:bodyPr anchor="t">
            <a:normAutofit/>
          </a:bodyPr>
          <a:lstStyle>
            <a:lvl1pPr algn="ctr">
              <a:defRPr sz="4800" b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C3E91F7-A868-9DF2-7912-3A24DA2B4A2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94760" y="5560367"/>
            <a:ext cx="7741920" cy="712949"/>
          </a:xfrm>
          <a:solidFill>
            <a:srgbClr val="FFFFFF">
              <a:alpha val="60000"/>
            </a:srgbClr>
          </a:solidFill>
        </p:spPr>
        <p:txBody>
          <a:bodyPr anchor="ctr"/>
          <a:lstStyle>
            <a:lvl1pPr marL="0" indent="0" algn="ctr">
              <a:buNone/>
              <a:defRPr sz="2400">
                <a:solidFill>
                  <a:srgbClr val="C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pic>
        <p:nvPicPr>
          <p:cNvPr id="26" name="echo-grid-156713-unsplash.jpg">
            <a:extLst>
              <a:ext uri="{FF2B5EF4-FFF2-40B4-BE49-F238E27FC236}">
                <a16:creationId xmlns:a16="http://schemas.microsoft.com/office/drawing/2014/main" id="{8F3BE577-382E-DD25-1D94-8254317268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49" t="803" r="42054" b="22586"/>
          <a:stretch/>
        </p:blipFill>
        <p:spPr>
          <a:xfrm>
            <a:off x="197613" y="198086"/>
            <a:ext cx="3268700" cy="32688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92" h="21588" extrusionOk="0">
                <a:moveTo>
                  <a:pt x="9432" y="0"/>
                </a:moveTo>
                <a:cubicBezTo>
                  <a:pt x="9682" y="0"/>
                  <a:pt x="9932" y="54"/>
                  <a:pt x="10164" y="163"/>
                </a:cubicBezTo>
                <a:cubicBezTo>
                  <a:pt x="10347" y="248"/>
                  <a:pt x="10515" y="366"/>
                  <a:pt x="10657" y="509"/>
                </a:cubicBezTo>
                <a:cubicBezTo>
                  <a:pt x="10800" y="653"/>
                  <a:pt x="10917" y="820"/>
                  <a:pt x="11002" y="1004"/>
                </a:cubicBezTo>
                <a:cubicBezTo>
                  <a:pt x="11219" y="1470"/>
                  <a:pt x="11219" y="2009"/>
                  <a:pt x="11002" y="2475"/>
                </a:cubicBezTo>
                <a:cubicBezTo>
                  <a:pt x="10863" y="2763"/>
                  <a:pt x="10543" y="3084"/>
                  <a:pt x="10009" y="3620"/>
                </a:cubicBezTo>
                <a:lnTo>
                  <a:pt x="3603" y="10057"/>
                </a:lnTo>
                <a:cubicBezTo>
                  <a:pt x="3070" y="10592"/>
                  <a:pt x="2751" y="10914"/>
                  <a:pt x="2463" y="11054"/>
                </a:cubicBezTo>
                <a:cubicBezTo>
                  <a:pt x="2000" y="11271"/>
                  <a:pt x="1463" y="11271"/>
                  <a:pt x="1000" y="11054"/>
                </a:cubicBezTo>
                <a:cubicBezTo>
                  <a:pt x="817" y="10968"/>
                  <a:pt x="650" y="10851"/>
                  <a:pt x="507" y="10707"/>
                </a:cubicBezTo>
                <a:cubicBezTo>
                  <a:pt x="364" y="10564"/>
                  <a:pt x="248" y="10396"/>
                  <a:pt x="162" y="10212"/>
                </a:cubicBezTo>
                <a:cubicBezTo>
                  <a:pt x="-54" y="9746"/>
                  <a:pt x="-54" y="9208"/>
                  <a:pt x="162" y="8742"/>
                </a:cubicBezTo>
                <a:cubicBezTo>
                  <a:pt x="302" y="8453"/>
                  <a:pt x="621" y="8131"/>
                  <a:pt x="1154" y="7596"/>
                </a:cubicBezTo>
                <a:lnTo>
                  <a:pt x="7560" y="1159"/>
                </a:lnTo>
                <a:cubicBezTo>
                  <a:pt x="8093" y="624"/>
                  <a:pt x="8414" y="303"/>
                  <a:pt x="8701" y="163"/>
                </a:cubicBezTo>
                <a:cubicBezTo>
                  <a:pt x="8933" y="54"/>
                  <a:pt x="9183" y="0"/>
                  <a:pt x="9432" y="0"/>
                </a:cubicBezTo>
                <a:close/>
                <a:moveTo>
                  <a:pt x="4213" y="57"/>
                </a:moveTo>
                <a:cubicBezTo>
                  <a:pt x="4463" y="57"/>
                  <a:pt x="4713" y="112"/>
                  <a:pt x="4945" y="221"/>
                </a:cubicBezTo>
                <a:cubicBezTo>
                  <a:pt x="5128" y="307"/>
                  <a:pt x="5293" y="424"/>
                  <a:pt x="5436" y="567"/>
                </a:cubicBezTo>
                <a:cubicBezTo>
                  <a:pt x="5579" y="711"/>
                  <a:pt x="5696" y="878"/>
                  <a:pt x="5781" y="1062"/>
                </a:cubicBezTo>
                <a:cubicBezTo>
                  <a:pt x="5998" y="1528"/>
                  <a:pt x="5998" y="2067"/>
                  <a:pt x="5781" y="2533"/>
                </a:cubicBezTo>
                <a:cubicBezTo>
                  <a:pt x="5642" y="2821"/>
                  <a:pt x="5323" y="3142"/>
                  <a:pt x="4790" y="3677"/>
                </a:cubicBezTo>
                <a:lnTo>
                  <a:pt x="3666" y="4807"/>
                </a:lnTo>
                <a:cubicBezTo>
                  <a:pt x="3132" y="5343"/>
                  <a:pt x="2812" y="5664"/>
                  <a:pt x="2525" y="5804"/>
                </a:cubicBezTo>
                <a:cubicBezTo>
                  <a:pt x="2061" y="6021"/>
                  <a:pt x="1526" y="6021"/>
                  <a:pt x="1062" y="5804"/>
                </a:cubicBezTo>
                <a:cubicBezTo>
                  <a:pt x="879" y="5718"/>
                  <a:pt x="712" y="5600"/>
                  <a:pt x="569" y="5457"/>
                </a:cubicBezTo>
                <a:cubicBezTo>
                  <a:pt x="426" y="5313"/>
                  <a:pt x="310" y="5147"/>
                  <a:pt x="224" y="4963"/>
                </a:cubicBezTo>
                <a:cubicBezTo>
                  <a:pt x="8" y="4497"/>
                  <a:pt x="8" y="3959"/>
                  <a:pt x="224" y="3493"/>
                </a:cubicBezTo>
                <a:cubicBezTo>
                  <a:pt x="364" y="3204"/>
                  <a:pt x="683" y="2882"/>
                  <a:pt x="1216" y="2347"/>
                </a:cubicBezTo>
                <a:lnTo>
                  <a:pt x="2341" y="1217"/>
                </a:lnTo>
                <a:cubicBezTo>
                  <a:pt x="2874" y="682"/>
                  <a:pt x="3194" y="361"/>
                  <a:pt x="3481" y="221"/>
                </a:cubicBezTo>
                <a:cubicBezTo>
                  <a:pt x="3713" y="112"/>
                  <a:pt x="3963" y="57"/>
                  <a:pt x="4213" y="57"/>
                </a:cubicBezTo>
                <a:close/>
                <a:moveTo>
                  <a:pt x="14521" y="75"/>
                </a:moveTo>
                <a:cubicBezTo>
                  <a:pt x="14771" y="75"/>
                  <a:pt x="15020" y="129"/>
                  <a:pt x="15252" y="238"/>
                </a:cubicBezTo>
                <a:cubicBezTo>
                  <a:pt x="15435" y="323"/>
                  <a:pt x="15602" y="441"/>
                  <a:pt x="15745" y="584"/>
                </a:cubicBezTo>
                <a:cubicBezTo>
                  <a:pt x="15888" y="728"/>
                  <a:pt x="16005" y="895"/>
                  <a:pt x="16090" y="1079"/>
                </a:cubicBezTo>
                <a:cubicBezTo>
                  <a:pt x="16306" y="1545"/>
                  <a:pt x="16306" y="2084"/>
                  <a:pt x="16090" y="2550"/>
                </a:cubicBezTo>
                <a:cubicBezTo>
                  <a:pt x="15951" y="2838"/>
                  <a:pt x="15631" y="3160"/>
                  <a:pt x="15098" y="3695"/>
                </a:cubicBezTo>
                <a:lnTo>
                  <a:pt x="3682" y="15164"/>
                </a:lnTo>
                <a:cubicBezTo>
                  <a:pt x="3149" y="15699"/>
                  <a:pt x="2830" y="16020"/>
                  <a:pt x="2543" y="16160"/>
                </a:cubicBezTo>
                <a:cubicBezTo>
                  <a:pt x="2079" y="16378"/>
                  <a:pt x="1543" y="16378"/>
                  <a:pt x="1079" y="16160"/>
                </a:cubicBezTo>
                <a:cubicBezTo>
                  <a:pt x="896" y="16075"/>
                  <a:pt x="730" y="15957"/>
                  <a:pt x="587" y="15814"/>
                </a:cubicBezTo>
                <a:cubicBezTo>
                  <a:pt x="444" y="15670"/>
                  <a:pt x="327" y="15503"/>
                  <a:pt x="242" y="15319"/>
                </a:cubicBezTo>
                <a:cubicBezTo>
                  <a:pt x="25" y="14853"/>
                  <a:pt x="25" y="14314"/>
                  <a:pt x="242" y="13848"/>
                </a:cubicBezTo>
                <a:cubicBezTo>
                  <a:pt x="381" y="13560"/>
                  <a:pt x="701" y="13239"/>
                  <a:pt x="1234" y="12704"/>
                </a:cubicBezTo>
                <a:lnTo>
                  <a:pt x="12649" y="1234"/>
                </a:lnTo>
                <a:cubicBezTo>
                  <a:pt x="13182" y="699"/>
                  <a:pt x="13502" y="378"/>
                  <a:pt x="13789" y="238"/>
                </a:cubicBezTo>
                <a:cubicBezTo>
                  <a:pt x="14021" y="129"/>
                  <a:pt x="14271" y="75"/>
                  <a:pt x="14521" y="75"/>
                </a:cubicBezTo>
                <a:close/>
                <a:moveTo>
                  <a:pt x="19582" y="177"/>
                </a:moveTo>
                <a:cubicBezTo>
                  <a:pt x="19832" y="177"/>
                  <a:pt x="20082" y="231"/>
                  <a:pt x="20314" y="340"/>
                </a:cubicBezTo>
                <a:cubicBezTo>
                  <a:pt x="20497" y="425"/>
                  <a:pt x="20664" y="543"/>
                  <a:pt x="20807" y="687"/>
                </a:cubicBezTo>
                <a:cubicBezTo>
                  <a:pt x="20950" y="830"/>
                  <a:pt x="21066" y="997"/>
                  <a:pt x="21152" y="1181"/>
                </a:cubicBezTo>
                <a:cubicBezTo>
                  <a:pt x="21368" y="1647"/>
                  <a:pt x="21368" y="2186"/>
                  <a:pt x="21152" y="2652"/>
                </a:cubicBezTo>
                <a:cubicBezTo>
                  <a:pt x="21012" y="2940"/>
                  <a:pt x="20692" y="3262"/>
                  <a:pt x="20159" y="3797"/>
                </a:cubicBezTo>
                <a:lnTo>
                  <a:pt x="3784" y="20248"/>
                </a:lnTo>
                <a:cubicBezTo>
                  <a:pt x="3251" y="20784"/>
                  <a:pt x="2931" y="21106"/>
                  <a:pt x="2644" y="21246"/>
                </a:cubicBezTo>
                <a:cubicBezTo>
                  <a:pt x="2180" y="21464"/>
                  <a:pt x="1645" y="21464"/>
                  <a:pt x="1181" y="21246"/>
                </a:cubicBezTo>
                <a:cubicBezTo>
                  <a:pt x="998" y="21160"/>
                  <a:pt x="831" y="21043"/>
                  <a:pt x="688" y="20900"/>
                </a:cubicBezTo>
                <a:cubicBezTo>
                  <a:pt x="545" y="20756"/>
                  <a:pt x="429" y="20588"/>
                  <a:pt x="343" y="20404"/>
                </a:cubicBezTo>
                <a:cubicBezTo>
                  <a:pt x="127" y="19938"/>
                  <a:pt x="127" y="19400"/>
                  <a:pt x="343" y="18934"/>
                </a:cubicBezTo>
                <a:cubicBezTo>
                  <a:pt x="483" y="18646"/>
                  <a:pt x="802" y="18324"/>
                  <a:pt x="1335" y="17789"/>
                </a:cubicBezTo>
                <a:lnTo>
                  <a:pt x="17710" y="1336"/>
                </a:lnTo>
                <a:cubicBezTo>
                  <a:pt x="18243" y="801"/>
                  <a:pt x="18564" y="480"/>
                  <a:pt x="18851" y="340"/>
                </a:cubicBezTo>
                <a:cubicBezTo>
                  <a:pt x="19083" y="231"/>
                  <a:pt x="19332" y="177"/>
                  <a:pt x="19582" y="177"/>
                </a:cubicBezTo>
                <a:close/>
                <a:moveTo>
                  <a:pt x="19719" y="5227"/>
                </a:moveTo>
                <a:cubicBezTo>
                  <a:pt x="19968" y="5227"/>
                  <a:pt x="20219" y="5282"/>
                  <a:pt x="20450" y="5391"/>
                </a:cubicBezTo>
                <a:cubicBezTo>
                  <a:pt x="20634" y="5477"/>
                  <a:pt x="20800" y="5593"/>
                  <a:pt x="20943" y="5737"/>
                </a:cubicBezTo>
                <a:cubicBezTo>
                  <a:pt x="21086" y="5880"/>
                  <a:pt x="21202" y="6047"/>
                  <a:pt x="21288" y="6231"/>
                </a:cubicBezTo>
                <a:cubicBezTo>
                  <a:pt x="21504" y="6697"/>
                  <a:pt x="21504" y="7235"/>
                  <a:pt x="21288" y="7702"/>
                </a:cubicBezTo>
                <a:cubicBezTo>
                  <a:pt x="21148" y="7990"/>
                  <a:pt x="20829" y="8312"/>
                  <a:pt x="20296" y="8848"/>
                </a:cubicBezTo>
                <a:lnTo>
                  <a:pt x="8811" y="20386"/>
                </a:lnTo>
                <a:cubicBezTo>
                  <a:pt x="8278" y="20922"/>
                  <a:pt x="7958" y="21243"/>
                  <a:pt x="7671" y="21383"/>
                </a:cubicBezTo>
                <a:cubicBezTo>
                  <a:pt x="7207" y="21600"/>
                  <a:pt x="6671" y="21600"/>
                  <a:pt x="6207" y="21383"/>
                </a:cubicBezTo>
                <a:cubicBezTo>
                  <a:pt x="6024" y="21297"/>
                  <a:pt x="5858" y="21180"/>
                  <a:pt x="5715" y="21036"/>
                </a:cubicBezTo>
                <a:cubicBezTo>
                  <a:pt x="5572" y="20893"/>
                  <a:pt x="5456" y="20725"/>
                  <a:pt x="5371" y="20541"/>
                </a:cubicBezTo>
                <a:cubicBezTo>
                  <a:pt x="5154" y="20075"/>
                  <a:pt x="5154" y="19537"/>
                  <a:pt x="5371" y="19071"/>
                </a:cubicBezTo>
                <a:cubicBezTo>
                  <a:pt x="5510" y="18782"/>
                  <a:pt x="5829" y="18462"/>
                  <a:pt x="6362" y="17926"/>
                </a:cubicBezTo>
                <a:lnTo>
                  <a:pt x="17847" y="6388"/>
                </a:lnTo>
                <a:cubicBezTo>
                  <a:pt x="18380" y="5852"/>
                  <a:pt x="18700" y="5531"/>
                  <a:pt x="18987" y="5391"/>
                </a:cubicBezTo>
                <a:cubicBezTo>
                  <a:pt x="19219" y="5282"/>
                  <a:pt x="19469" y="5227"/>
                  <a:pt x="19719" y="5227"/>
                </a:cubicBezTo>
                <a:close/>
                <a:moveTo>
                  <a:pt x="19761" y="10372"/>
                </a:moveTo>
                <a:cubicBezTo>
                  <a:pt x="20011" y="10372"/>
                  <a:pt x="20261" y="10426"/>
                  <a:pt x="20493" y="10535"/>
                </a:cubicBezTo>
                <a:cubicBezTo>
                  <a:pt x="20676" y="10621"/>
                  <a:pt x="20842" y="10738"/>
                  <a:pt x="20985" y="10881"/>
                </a:cubicBezTo>
                <a:cubicBezTo>
                  <a:pt x="21128" y="11025"/>
                  <a:pt x="21244" y="11193"/>
                  <a:pt x="21330" y="11377"/>
                </a:cubicBezTo>
                <a:cubicBezTo>
                  <a:pt x="21546" y="11843"/>
                  <a:pt x="21546" y="12381"/>
                  <a:pt x="21330" y="12847"/>
                </a:cubicBezTo>
                <a:cubicBezTo>
                  <a:pt x="21190" y="13135"/>
                  <a:pt x="20871" y="13456"/>
                  <a:pt x="20338" y="13992"/>
                </a:cubicBezTo>
                <a:lnTo>
                  <a:pt x="13932" y="20428"/>
                </a:lnTo>
                <a:cubicBezTo>
                  <a:pt x="13399" y="20964"/>
                  <a:pt x="13079" y="21285"/>
                  <a:pt x="12792" y="21425"/>
                </a:cubicBezTo>
                <a:cubicBezTo>
                  <a:pt x="12560" y="21533"/>
                  <a:pt x="12310" y="21588"/>
                  <a:pt x="12060" y="21588"/>
                </a:cubicBezTo>
                <a:cubicBezTo>
                  <a:pt x="11810" y="21588"/>
                  <a:pt x="11560" y="21533"/>
                  <a:pt x="11328" y="21425"/>
                </a:cubicBezTo>
                <a:cubicBezTo>
                  <a:pt x="11145" y="21339"/>
                  <a:pt x="10978" y="21222"/>
                  <a:pt x="10835" y="21078"/>
                </a:cubicBezTo>
                <a:cubicBezTo>
                  <a:pt x="10692" y="20935"/>
                  <a:pt x="10576" y="20769"/>
                  <a:pt x="10490" y="20585"/>
                </a:cubicBezTo>
                <a:cubicBezTo>
                  <a:pt x="10274" y="20119"/>
                  <a:pt x="10274" y="19580"/>
                  <a:pt x="10490" y="19114"/>
                </a:cubicBezTo>
                <a:cubicBezTo>
                  <a:pt x="10630" y="18826"/>
                  <a:pt x="10949" y="18504"/>
                  <a:pt x="11483" y="17968"/>
                </a:cubicBezTo>
                <a:lnTo>
                  <a:pt x="17889" y="11532"/>
                </a:lnTo>
                <a:cubicBezTo>
                  <a:pt x="18422" y="10996"/>
                  <a:pt x="18742" y="10675"/>
                  <a:pt x="19029" y="10535"/>
                </a:cubicBezTo>
                <a:cubicBezTo>
                  <a:pt x="19261" y="10426"/>
                  <a:pt x="19511" y="10372"/>
                  <a:pt x="19761" y="10372"/>
                </a:cubicBezTo>
                <a:close/>
                <a:moveTo>
                  <a:pt x="19702" y="15618"/>
                </a:moveTo>
                <a:cubicBezTo>
                  <a:pt x="19952" y="15618"/>
                  <a:pt x="20201" y="15674"/>
                  <a:pt x="20433" y="15782"/>
                </a:cubicBezTo>
                <a:cubicBezTo>
                  <a:pt x="20616" y="15868"/>
                  <a:pt x="20782" y="15985"/>
                  <a:pt x="20925" y="16129"/>
                </a:cubicBezTo>
                <a:cubicBezTo>
                  <a:pt x="21068" y="16273"/>
                  <a:pt x="21186" y="16439"/>
                  <a:pt x="21271" y="16623"/>
                </a:cubicBezTo>
                <a:cubicBezTo>
                  <a:pt x="21487" y="17089"/>
                  <a:pt x="21487" y="17627"/>
                  <a:pt x="21271" y="18093"/>
                </a:cubicBezTo>
                <a:cubicBezTo>
                  <a:pt x="21132" y="18381"/>
                  <a:pt x="20812" y="18704"/>
                  <a:pt x="20279" y="19239"/>
                </a:cubicBezTo>
                <a:lnTo>
                  <a:pt x="19154" y="20368"/>
                </a:lnTo>
                <a:cubicBezTo>
                  <a:pt x="18621" y="20904"/>
                  <a:pt x="18301" y="21226"/>
                  <a:pt x="18013" y="21366"/>
                </a:cubicBezTo>
                <a:cubicBezTo>
                  <a:pt x="17550" y="21583"/>
                  <a:pt x="17014" y="21583"/>
                  <a:pt x="16550" y="21366"/>
                </a:cubicBezTo>
                <a:cubicBezTo>
                  <a:pt x="16367" y="21280"/>
                  <a:pt x="16201" y="21162"/>
                  <a:pt x="16058" y="21019"/>
                </a:cubicBezTo>
                <a:cubicBezTo>
                  <a:pt x="15915" y="20875"/>
                  <a:pt x="15798" y="20708"/>
                  <a:pt x="15713" y="20524"/>
                </a:cubicBezTo>
                <a:cubicBezTo>
                  <a:pt x="15497" y="20058"/>
                  <a:pt x="15497" y="19520"/>
                  <a:pt x="15713" y="19054"/>
                </a:cubicBezTo>
                <a:cubicBezTo>
                  <a:pt x="15852" y="18765"/>
                  <a:pt x="16172" y="18444"/>
                  <a:pt x="16705" y="17908"/>
                </a:cubicBezTo>
                <a:lnTo>
                  <a:pt x="17830" y="16779"/>
                </a:lnTo>
                <a:cubicBezTo>
                  <a:pt x="18363" y="16244"/>
                  <a:pt x="18682" y="15923"/>
                  <a:pt x="18969" y="15782"/>
                </a:cubicBezTo>
                <a:cubicBezTo>
                  <a:pt x="19201" y="15674"/>
                  <a:pt x="19452" y="15618"/>
                  <a:pt x="19702" y="15618"/>
                </a:cubicBezTo>
                <a:close/>
              </a:path>
            </a:pathLst>
          </a:custGeom>
          <a:ln w="12700">
            <a:miter lim="400000"/>
          </a:ln>
        </p:spPr>
      </p:pic>
      <p:pic>
        <p:nvPicPr>
          <p:cNvPr id="39" name="Graphic 38">
            <a:extLst>
              <a:ext uri="{FF2B5EF4-FFF2-40B4-BE49-F238E27FC236}">
                <a16:creationId xmlns:a16="http://schemas.microsoft.com/office/drawing/2014/main" id="{B5D5B1AD-170E-3CBE-274F-2DD6CB4604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0112" t="26916" r="10082" b="16994"/>
          <a:stretch/>
        </p:blipFill>
        <p:spPr>
          <a:xfrm>
            <a:off x="6138056" y="653246"/>
            <a:ext cx="3015907" cy="2119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31341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5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5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5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5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1" presetClass="entr" presetSubtype="0" fill="hold" nodeType="with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5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5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5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5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mph" presetSubtype="0" repeatCount="indefinite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animScale>
                                      <p:cBhvr>
                                        <p:cTn id="18" dur="10000" fill="hold"/>
                                        <p:tgtEl>
                                          <p:spTgt spid="15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6" presetClass="emph" presetSubtype="0" repeatCount="indefinite" fill="hold" nodeType="withEffect">
                                  <p:stCondLst>
                                    <p:cond delay="7700"/>
                                  </p:stCondLst>
                                  <p:childTnLst>
                                    <p:animScale>
                                      <p:cBhvr>
                                        <p:cTn id="20" dur="10000" fill="hold"/>
                                        <p:tgtEl>
                                          <p:spTgt spid="4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7D59DB-F511-CFF7-EB90-3B85D440A6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8893840" cy="1325563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6E71F2-CE95-8E9E-8315-6FA62F0E4DD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45476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35ED143D-59A6-8937-9FC1-42E6D60D1F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A38F686-A6E8-1AF8-E5E3-5A8460A324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5545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D8FF48-18F2-6EDE-1206-59C6713BD2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60470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8255242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7911897-59E6-3FA3-8525-2D7E7FB82E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-2" y="-1"/>
            <a:ext cx="12192002" cy="7543801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DF1B798E-8DD2-DC4C-B361-E50EC7BC0D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754689"/>
            <a:ext cx="7626350" cy="1469087"/>
          </a:xfrm>
        </p:spPr>
        <p:txBody>
          <a:bodyPr anchor="b">
            <a:noAutofit/>
          </a:bodyPr>
          <a:lstStyle>
            <a:lvl1pPr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US"/>
              <a:t>Demo slid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070FB27-CC50-B771-8DCF-6E62122C6B0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5227320"/>
            <a:ext cx="7626350" cy="953770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Demo tit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A789858-C08B-BBBD-4A98-21F1443543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647" t="29367" r="28407" b="31731"/>
          <a:stretch/>
        </p:blipFill>
        <p:spPr>
          <a:xfrm>
            <a:off x="831850" y="135571"/>
            <a:ext cx="1621790" cy="1469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9281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F4A2F-FE2F-4376-228B-D64E0A7D3E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8930640" cy="1325563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09D939-9CAC-3665-1A24-8987FDE7F78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71FF9D2-79E1-B4EE-569B-9C0B73DD4B7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56101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0445A2-2C58-C6DB-3861-F078F1D18B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8898572" cy="1325563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BB8353-DF3A-0B70-02AB-F47EBE839F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9688812-01E9-8A24-90B4-5F8F14EA3C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365A05-AE35-972D-A12C-8A43FC9EA88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8D64FC3-67D9-4518-B2DD-E9DFBD0AF9A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91323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4A1031C-2F1B-3849-DA33-83AEDF967C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8793480" cy="1325563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EE0442A0-4801-331B-8255-BBA21AD2DE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088880" y="428326"/>
            <a:ext cx="1706880" cy="1184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11841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556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A9059AD-74C2-F21B-7E7B-5CDFE8B49D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-1" y="-2"/>
            <a:ext cx="12245370" cy="6858002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02BF2EDD-998D-312D-27DC-E69CE0487501}"/>
              </a:ext>
            </a:extLst>
          </p:cNvPr>
          <p:cNvSpPr/>
          <p:nvPr userDrawn="1"/>
        </p:nvSpPr>
        <p:spPr>
          <a:xfrm>
            <a:off x="-15241" y="243840"/>
            <a:ext cx="12245369" cy="6112510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C52EB089-0022-B4DD-4ECC-B42E7EAE02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8893840" cy="132556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219CBA9-2FC3-505E-A323-BF368F8B49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A507CF5-CCEB-66DB-6CEB-EE8838D510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663"/>
          <a:stretch/>
        </p:blipFill>
        <p:spPr>
          <a:xfrm>
            <a:off x="10184455" y="362923"/>
            <a:ext cx="1593258" cy="1116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33593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1" r:id="rId2"/>
    <p:sldLayoutId id="2147483650" r:id="rId3"/>
    <p:sldLayoutId id="2147483651" r:id="rId4"/>
    <p:sldLayoutId id="2147483660" r:id="rId5"/>
    <p:sldLayoutId id="2147483652" r:id="rId6"/>
    <p:sldLayoutId id="2147483653" r:id="rId7"/>
    <p:sldLayoutId id="2147483654" r:id="rId8"/>
    <p:sldLayoutId id="2147483655" r:id="rId9"/>
    <p:sldLayoutId id="2147483656" r:id="rId10"/>
    <p:sldLayoutId id="2147483657" r:id="rId11"/>
    <p:sldLayoutId id="214748365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2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2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7" Type="http://schemas.openxmlformats.org/officeDocument/2006/relationships/image" Target="../media/image22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1.png"/><Relationship Id="rId5" Type="http://schemas.openxmlformats.org/officeDocument/2006/relationships/image" Target="../media/image20.emf"/><Relationship Id="rId4" Type="http://schemas.openxmlformats.org/officeDocument/2006/relationships/image" Target="../media/image19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emf"/><Relationship Id="rId3" Type="http://schemas.openxmlformats.org/officeDocument/2006/relationships/image" Target="../media/image19.emf"/><Relationship Id="rId7" Type="http://schemas.openxmlformats.org/officeDocument/2006/relationships/image" Target="../media/image22.emf"/><Relationship Id="rId12" Type="http://schemas.openxmlformats.org/officeDocument/2006/relationships/image" Target="../media/image29.svg"/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4.png"/><Relationship Id="rId11" Type="http://schemas.openxmlformats.org/officeDocument/2006/relationships/image" Target="../media/image28.png"/><Relationship Id="rId5" Type="http://schemas.openxmlformats.org/officeDocument/2006/relationships/image" Target="../media/image23.emf"/><Relationship Id="rId10" Type="http://schemas.openxmlformats.org/officeDocument/2006/relationships/image" Target="../media/image27.svg"/><Relationship Id="rId4" Type="http://schemas.openxmlformats.org/officeDocument/2006/relationships/image" Target="../media/image20.emf"/><Relationship Id="rId9" Type="http://schemas.openxmlformats.org/officeDocument/2006/relationships/image" Target="../media/image26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emf"/><Relationship Id="rId13" Type="http://schemas.openxmlformats.org/officeDocument/2006/relationships/image" Target="../media/image29.svg"/><Relationship Id="rId3" Type="http://schemas.openxmlformats.org/officeDocument/2006/relationships/image" Target="../media/image19.emf"/><Relationship Id="rId7" Type="http://schemas.openxmlformats.org/officeDocument/2006/relationships/image" Target="../media/image24.png"/><Relationship Id="rId12" Type="http://schemas.openxmlformats.org/officeDocument/2006/relationships/image" Target="../media/image28.png"/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0.emf"/><Relationship Id="rId11" Type="http://schemas.openxmlformats.org/officeDocument/2006/relationships/image" Target="../media/image27.svg"/><Relationship Id="rId5" Type="http://schemas.openxmlformats.org/officeDocument/2006/relationships/image" Target="../media/image23.emf"/><Relationship Id="rId10" Type="http://schemas.openxmlformats.org/officeDocument/2006/relationships/image" Target="../media/image26.png"/><Relationship Id="rId4" Type="http://schemas.openxmlformats.org/officeDocument/2006/relationships/image" Target="../media/image20.emf"/><Relationship Id="rId9" Type="http://schemas.openxmlformats.org/officeDocument/2006/relationships/image" Target="../media/image25.emf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13" Type="http://schemas.openxmlformats.org/officeDocument/2006/relationships/image" Target="../media/image29.svg"/><Relationship Id="rId3" Type="http://schemas.openxmlformats.org/officeDocument/2006/relationships/image" Target="../media/image23.emf"/><Relationship Id="rId7" Type="http://schemas.openxmlformats.org/officeDocument/2006/relationships/image" Target="../media/image18.emf"/><Relationship Id="rId12" Type="http://schemas.openxmlformats.org/officeDocument/2006/relationships/image" Target="../media/image2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5.emf"/><Relationship Id="rId11" Type="http://schemas.openxmlformats.org/officeDocument/2006/relationships/image" Target="../media/image27.svg"/><Relationship Id="rId5" Type="http://schemas.openxmlformats.org/officeDocument/2006/relationships/image" Target="../media/image22.emf"/><Relationship Id="rId10" Type="http://schemas.openxmlformats.org/officeDocument/2006/relationships/image" Target="../media/image26.png"/><Relationship Id="rId4" Type="http://schemas.openxmlformats.org/officeDocument/2006/relationships/image" Target="../media/image24.png"/><Relationship Id="rId9" Type="http://schemas.openxmlformats.org/officeDocument/2006/relationships/image" Target="../media/image20.e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13" Type="http://schemas.openxmlformats.org/officeDocument/2006/relationships/image" Target="../media/image29.svg"/><Relationship Id="rId3" Type="http://schemas.openxmlformats.org/officeDocument/2006/relationships/image" Target="../media/image24.png"/><Relationship Id="rId7" Type="http://schemas.openxmlformats.org/officeDocument/2006/relationships/image" Target="../media/image18.emf"/><Relationship Id="rId12" Type="http://schemas.openxmlformats.org/officeDocument/2006/relationships/image" Target="../media/image28.png"/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1.emf"/><Relationship Id="rId11" Type="http://schemas.openxmlformats.org/officeDocument/2006/relationships/image" Target="../media/image27.svg"/><Relationship Id="rId5" Type="http://schemas.openxmlformats.org/officeDocument/2006/relationships/image" Target="../media/image25.emf"/><Relationship Id="rId10" Type="http://schemas.openxmlformats.org/officeDocument/2006/relationships/image" Target="../media/image26.png"/><Relationship Id="rId4" Type="http://schemas.openxmlformats.org/officeDocument/2006/relationships/image" Target="../media/image22.emf"/><Relationship Id="rId9" Type="http://schemas.openxmlformats.org/officeDocument/2006/relationships/image" Target="../media/image20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8.svg"/><Relationship Id="rId5" Type="http://schemas.openxmlformats.org/officeDocument/2006/relationships/image" Target="../media/image37.png"/><Relationship Id="rId4" Type="http://schemas.openxmlformats.org/officeDocument/2006/relationships/image" Target="../media/image36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8.svg"/><Relationship Id="rId5" Type="http://schemas.openxmlformats.org/officeDocument/2006/relationships/image" Target="../media/image37.png"/><Relationship Id="rId4" Type="http://schemas.openxmlformats.org/officeDocument/2006/relationships/image" Target="../media/image36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36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7" Type="http://schemas.openxmlformats.org/officeDocument/2006/relationships/image" Target="../media/image42.emf"/><Relationship Id="rId2" Type="http://schemas.openxmlformats.org/officeDocument/2006/relationships/image" Target="../media/image35.emf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4.emf"/><Relationship Id="rId5" Type="http://schemas.openxmlformats.org/officeDocument/2006/relationships/image" Target="../media/image41.svg"/><Relationship Id="rId4" Type="http://schemas.openxmlformats.org/officeDocument/2006/relationships/image" Target="../media/image40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emf"/><Relationship Id="rId3" Type="http://schemas.openxmlformats.org/officeDocument/2006/relationships/image" Target="../media/image35.emf"/><Relationship Id="rId7" Type="http://schemas.openxmlformats.org/officeDocument/2006/relationships/image" Target="../media/image46.emf"/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5.emf"/><Relationship Id="rId5" Type="http://schemas.openxmlformats.org/officeDocument/2006/relationships/image" Target="../media/image44.emf"/><Relationship Id="rId4" Type="http://schemas.openxmlformats.org/officeDocument/2006/relationships/image" Target="../media/image36.emf"/><Relationship Id="rId9" Type="http://schemas.openxmlformats.org/officeDocument/2006/relationships/image" Target="../media/image48.e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https://testconnectivity.microsoft.com/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docs.microsoft.com/en-us/exchange/org-config-transfer-attributes/org-config-transfer-attributes?WT.mc_id=M365-MVP-5003086" TargetMode="Externa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openxmlformats.org/officeDocument/2006/relationships/image" Target="../media/image63.svg"/><Relationship Id="rId7" Type="http://schemas.openxmlformats.org/officeDocument/2006/relationships/image" Target="../media/image67.sv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6.png"/><Relationship Id="rId11" Type="http://schemas.openxmlformats.org/officeDocument/2006/relationships/image" Target="../media/image71.jpg"/><Relationship Id="rId5" Type="http://schemas.openxmlformats.org/officeDocument/2006/relationships/image" Target="../media/image65.png"/><Relationship Id="rId10" Type="http://schemas.openxmlformats.org/officeDocument/2006/relationships/image" Target="../media/image70.png"/><Relationship Id="rId4" Type="http://schemas.openxmlformats.org/officeDocument/2006/relationships/image" Target="../media/image64.png"/><Relationship Id="rId9" Type="http://schemas.openxmlformats.org/officeDocument/2006/relationships/image" Target="../media/image69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hyperlink" Target="https://go.granikos.eu/ExchangeServerBuch" TargetMode="Externa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3.jpg"/><Relationship Id="rId5" Type="http://schemas.openxmlformats.org/officeDocument/2006/relationships/hyperlink" Target="https://m365businessbuch.de/" TargetMode="External"/><Relationship Id="rId4" Type="http://schemas.openxmlformats.org/officeDocument/2006/relationships/image" Target="../media/image72.png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hyperlink" Target="https://exrca.com/" TargetMode="External"/><Relationship Id="rId3" Type="http://schemas.openxmlformats.org/officeDocument/2006/relationships/hyperlink" Target="https://docs.microsoft.com/en-us/exchange/hybrid-deployment-prerequisites?WT.mc_id=M365-MVP-5003086" TargetMode="External"/><Relationship Id="rId7" Type="http://schemas.openxmlformats.org/officeDocument/2006/relationships/hyperlink" Target="https://techcommunity.microsoft.com/t5/exchange-team-blog/demystifying-and-troubleshooting-hybrid-mail-flow-when-is-a/ba-p/1420838?WT.mc_id=M365-MVP-5003086" TargetMode="External"/><Relationship Id="rId2" Type="http://schemas.openxmlformats.org/officeDocument/2006/relationships/hyperlink" Target="https://docs.microsoft.com/en-us/exchange/exchange-hybrid?WT.mc_id=M365-MVP-5003086" TargetMode="Externa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docs.microsoft.com/en-us/exchange/configure-oauth-authentication-between-exchange-and-exchange-online-organizations-exchange-2013-help?WT.mc_id=M365-MVP-5003086" TargetMode="External"/><Relationship Id="rId5" Type="http://schemas.openxmlformats.org/officeDocument/2006/relationships/hyperlink" Target="https://techcommunity.microsoft.com/t5/exchange-team-blog/configuring-teams-calendar-access-for-exchange-on-premises/ba-p/1484009?WT.mc_id=M365-MVP-5003086" TargetMode="External"/><Relationship Id="rId10" Type="http://schemas.openxmlformats.org/officeDocument/2006/relationships/hyperlink" Target="https://doc.traefik.io/traefik/" TargetMode="External"/><Relationship Id="rId4" Type="http://schemas.openxmlformats.org/officeDocument/2006/relationships/hyperlink" Target="https://docs.microsoft.com/en-us/exchange/hybrid-configuration-wizard-faqs?WT.mc_id=M365-MVP-5003086" TargetMode="External"/><Relationship Id="rId9" Type="http://schemas.openxmlformats.org/officeDocument/2006/relationships/hyperlink" Target="https://docs.microsoft.com/en-us/microsoftteams/exchange-teams-interact?WT.mc_id=TM-MVP-5003086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74B7DD3-7E08-C722-349F-5DB12B911FF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Exchange Hybrid – </a:t>
            </a:r>
            <a:br>
              <a:rPr lang="en-US" dirty="0">
                <a:solidFill>
                  <a:schemeClr val="tx2"/>
                </a:solidFill>
              </a:rPr>
            </a:br>
            <a:r>
              <a:rPr lang="en-US" dirty="0">
                <a:solidFill>
                  <a:schemeClr val="tx2"/>
                </a:solidFill>
              </a:rPr>
              <a:t>What, Why, and How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BEB964C0-3D03-50FC-69DC-4E702FC659D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>
                <a:solidFill>
                  <a:schemeClr val="tx2">
                    <a:lumMod val="75000"/>
                    <a:lumOff val="25000"/>
                  </a:schemeClr>
                </a:solidFill>
              </a:rPr>
              <a:t>Thomas Stensitzki</a:t>
            </a:r>
            <a:endParaRPr lang="en-US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978146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C8286F9A-03BA-53DB-BFB9-673E208ACB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the SLA statement for Exchange Online?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3EE38D4-0E11-743E-1807-62DCB7E0B6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SLA for most changes and activities in Exchange Online is 24h.</a:t>
            </a:r>
          </a:p>
        </p:txBody>
      </p:sp>
    </p:spTree>
    <p:extLst>
      <p:ext uri="{BB962C8B-B14F-4D97-AF65-F5344CB8AC3E}">
        <p14:creationId xmlns:p14="http://schemas.microsoft.com/office/powerpoint/2010/main" val="20350909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62A795-AAF1-319D-DC9F-6228E231F2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Exchange Hybrid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87C40D-FB3A-794D-722F-A25C53C119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1439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D9D153A6-C0AD-90A5-5F6A-4E9708A559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lum bright="70000" contrast="-70000"/>
          </a:blip>
          <a:srcRect t="2222"/>
          <a:stretch/>
        </p:blipFill>
        <p:spPr>
          <a:xfrm>
            <a:off x="0" y="0"/>
            <a:ext cx="12192000" cy="701746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4D946DD7-E8C4-5DAD-2176-19BB45DF0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365125"/>
            <a:ext cx="8011332" cy="1325563"/>
          </a:xfrm>
          <a:noFill/>
        </p:spPr>
        <p:txBody>
          <a:bodyPr/>
          <a:lstStyle/>
          <a:p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668D2DB-5C37-E209-10FE-B1AFD0CEC11B}"/>
              </a:ext>
            </a:extLst>
          </p:cNvPr>
          <p:cNvSpPr txBox="1">
            <a:spLocks/>
          </p:cNvSpPr>
          <p:nvPr/>
        </p:nvSpPr>
        <p:spPr>
          <a:xfrm>
            <a:off x="2380338" y="4374397"/>
            <a:ext cx="7579906" cy="132556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2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2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2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2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2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Implementing Exchange Hybrid is </a:t>
            </a:r>
            <a:r>
              <a:rPr lang="en-US"/>
              <a:t>simple.</a:t>
            </a:r>
            <a:endParaRPr lang="en-US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8956F786-5361-C816-2E70-32755FCB6E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3595929"/>
            <a:ext cx="1231395" cy="1133858"/>
          </a:xfrm>
          <a:prstGeom prst="rect">
            <a:avLst/>
          </a:prstGeom>
        </p:spPr>
      </p:pic>
      <p:pic>
        <p:nvPicPr>
          <p:cNvPr id="8" name="Content Placeholder 6">
            <a:extLst>
              <a:ext uri="{FF2B5EF4-FFF2-40B4-BE49-F238E27FC236}">
                <a16:creationId xmlns:a16="http://schemas.microsoft.com/office/drawing/2014/main" id="{224A17EC-5905-8422-3252-CF803044AB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9960244" y="4300779"/>
            <a:ext cx="1231395" cy="1133858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32022743-296D-C66D-B326-68838D412186}"/>
              </a:ext>
            </a:extLst>
          </p:cNvPr>
          <p:cNvSpPr txBox="1">
            <a:spLocks/>
          </p:cNvSpPr>
          <p:nvPr/>
        </p:nvSpPr>
        <p:spPr>
          <a:xfrm>
            <a:off x="2380338" y="5765519"/>
            <a:ext cx="7579906" cy="1325563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2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2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2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2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2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i="1" dirty="0"/>
              <a:t>Some undisclosed </a:t>
            </a:r>
            <a:r>
              <a:rPr lang="en-US" sz="2000" i="1"/>
              <a:t>Exchange consultant</a:t>
            </a:r>
            <a:endParaRPr lang="en-US" sz="2000" i="1" dirty="0"/>
          </a:p>
        </p:txBody>
      </p:sp>
    </p:spTree>
    <p:extLst>
      <p:ext uri="{BB962C8B-B14F-4D97-AF65-F5344CB8AC3E}">
        <p14:creationId xmlns:p14="http://schemas.microsoft.com/office/powerpoint/2010/main" val="207333027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5E63A746-8726-18CB-8188-16A79138AB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is Exchange Hybrid</a:t>
            </a:r>
            <a:endParaRPr lang="en-US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94BDC1DF-E85E-FCDB-3645-C1D3F87BB099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Autofit/>
          </a:bodyPr>
          <a:lstStyle/>
          <a:p>
            <a:r>
              <a:rPr lang="en-US" sz="2400" dirty="0"/>
              <a:t>Trusted relationship between an </a:t>
            </a:r>
            <a:br>
              <a:rPr lang="en-US" sz="2400" dirty="0"/>
            </a:br>
            <a:r>
              <a:rPr lang="en-US" sz="2400" dirty="0"/>
              <a:t>on-premises Exchange Organization and Exchange Online</a:t>
            </a:r>
          </a:p>
          <a:p>
            <a:r>
              <a:rPr lang="en-US" sz="2400" dirty="0"/>
              <a:t>Hybrid connections for </a:t>
            </a:r>
          </a:p>
          <a:p>
            <a:pPr lvl="1"/>
            <a:r>
              <a:rPr lang="en-US" sz="2000" dirty="0"/>
              <a:t>Mail flow (</a:t>
            </a:r>
            <a:r>
              <a:rPr lang="en-US" sz="2000" i="1" dirty="0"/>
              <a:t>SMTP</a:t>
            </a:r>
            <a:r>
              <a:rPr lang="en-US" sz="2000" dirty="0"/>
              <a:t>)</a:t>
            </a:r>
          </a:p>
          <a:p>
            <a:pPr lvl="1"/>
            <a:r>
              <a:rPr lang="en-US" sz="2000" dirty="0"/>
              <a:t>Exchange access (</a:t>
            </a:r>
            <a:r>
              <a:rPr lang="en-US" sz="2000" i="1" dirty="0"/>
              <a:t>HTTPS</a:t>
            </a:r>
            <a:r>
              <a:rPr lang="en-US" sz="2000" dirty="0"/>
              <a:t>) for hybrid functionality</a:t>
            </a:r>
          </a:p>
          <a:p>
            <a:r>
              <a:rPr lang="en-US" sz="2400" dirty="0"/>
              <a:t>Hybrid Configuration Wizard (HCW) activates and configures the selected hybrid mode of operation</a:t>
            </a:r>
          </a:p>
          <a:p>
            <a:r>
              <a:rPr lang="en-US" sz="2400" dirty="0"/>
              <a:t>Supported Exchange Versions</a:t>
            </a:r>
          </a:p>
          <a:p>
            <a:pPr lvl="1"/>
            <a:r>
              <a:rPr lang="en-US" sz="2000" dirty="0"/>
              <a:t>Exchange Server 2013, 2016, and 2019</a:t>
            </a:r>
          </a:p>
          <a:p>
            <a:endParaRPr lang="en-US" sz="2400" dirty="0"/>
          </a:p>
          <a:p>
            <a:endParaRPr lang="en-US" sz="2400" dirty="0"/>
          </a:p>
        </p:txBody>
      </p:sp>
      <p:sp>
        <p:nvSpPr>
          <p:cNvPr id="8" name="Rectangle 727" descr="Diagramm showing Exchange Hybrid Configuration Overview ">
            <a:extLst>
              <a:ext uri="{FF2B5EF4-FFF2-40B4-BE49-F238E27FC236}">
                <a16:creationId xmlns:a16="http://schemas.microsoft.com/office/drawing/2014/main" id="{5ABC2D19-738F-780B-DEDF-9220CC3AAA63}"/>
              </a:ext>
            </a:extLst>
          </p:cNvPr>
          <p:cNvSpPr/>
          <p:nvPr/>
        </p:nvSpPr>
        <p:spPr bwMode="auto">
          <a:xfrm>
            <a:off x="6815282" y="1690688"/>
            <a:ext cx="5036244" cy="495130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1397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cs typeface="Segoe UI" pitchFamily="34" charset="0"/>
            </a:endParaRPr>
          </a:p>
        </p:txBody>
      </p:sp>
      <p:grpSp>
        <p:nvGrpSpPr>
          <p:cNvPr id="9" name="Gruppieren 8" descr="Diagramm showing Exchange Hybrid Configuration Overview ">
            <a:extLst>
              <a:ext uri="{FF2B5EF4-FFF2-40B4-BE49-F238E27FC236}">
                <a16:creationId xmlns:a16="http://schemas.microsoft.com/office/drawing/2014/main" id="{3BE86B0F-3E0E-4F83-6F06-D1425E229AD8}"/>
              </a:ext>
            </a:extLst>
          </p:cNvPr>
          <p:cNvGrpSpPr/>
          <p:nvPr/>
        </p:nvGrpSpPr>
        <p:grpSpPr>
          <a:xfrm>
            <a:off x="7285545" y="4831385"/>
            <a:ext cx="4008505" cy="1433206"/>
            <a:chOff x="7794171" y="5068389"/>
            <a:chExt cx="4008505" cy="1436914"/>
          </a:xfrm>
        </p:grpSpPr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4E09C1F0-99A1-667E-DB8F-D1C492BB771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261849" y="5424488"/>
              <a:ext cx="771525" cy="752475"/>
            </a:xfrm>
            <a:prstGeom prst="rect">
              <a:avLst/>
            </a:prstGeom>
          </p:spPr>
        </p:pic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8A1FBFFB-EC15-1180-800E-1324A662644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435873" y="5410200"/>
              <a:ext cx="809625" cy="781050"/>
            </a:xfrm>
            <a:prstGeom prst="rect">
              <a:avLst/>
            </a:prstGeom>
          </p:spPr>
        </p:pic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4EB426B1-0D3E-A92C-0794-9EAF71682DC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0647997" y="5424488"/>
              <a:ext cx="809625" cy="781050"/>
            </a:xfrm>
            <a:prstGeom prst="rect">
              <a:avLst/>
            </a:prstGeom>
          </p:spPr>
        </p:pic>
        <p:sp>
          <p:nvSpPr>
            <p:cNvPr id="13" name="Rechteck: abgerundete Ecken 12">
              <a:extLst>
                <a:ext uri="{FF2B5EF4-FFF2-40B4-BE49-F238E27FC236}">
                  <a16:creationId xmlns:a16="http://schemas.microsoft.com/office/drawing/2014/main" id="{30F39A3D-CF6A-7C01-16AF-0E0D5C8F0746}"/>
                </a:ext>
              </a:extLst>
            </p:cNvPr>
            <p:cNvSpPr/>
            <p:nvPr/>
          </p:nvSpPr>
          <p:spPr>
            <a:xfrm>
              <a:off x="7794171" y="5068389"/>
              <a:ext cx="4008505" cy="1436914"/>
            </a:xfrm>
            <a:prstGeom prst="roundRect">
              <a:avLst/>
            </a:prstGeom>
            <a:noFill/>
            <a:ln w="9525" cap="flat" cmpd="sng" algn="ctr">
              <a:solidFill>
                <a:srgbClr val="0F6FC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b"/>
            <a:lstStyle/>
            <a:p>
              <a:pPr defTabSz="914363">
                <a:defRPr/>
              </a:pPr>
              <a:r>
                <a:rPr lang="en-US" sz="1400" kern="0" dirty="0">
                  <a:solidFill>
                    <a:srgbClr val="0F6FC6"/>
                  </a:solidFill>
                  <a:latin typeface="Segoe UI"/>
                </a:rPr>
                <a:t>On-Premises Exchange Organization</a:t>
              </a:r>
            </a:p>
          </p:txBody>
        </p:sp>
      </p:grpSp>
      <p:grpSp>
        <p:nvGrpSpPr>
          <p:cNvPr id="14" name="Gruppieren 13" descr="Diagramm showing Exchange Hybrid Configuration Overview ">
            <a:extLst>
              <a:ext uri="{FF2B5EF4-FFF2-40B4-BE49-F238E27FC236}">
                <a16:creationId xmlns:a16="http://schemas.microsoft.com/office/drawing/2014/main" id="{1387C8D6-0F8F-8D7E-1FAB-76FC70425BD4}"/>
              </a:ext>
            </a:extLst>
          </p:cNvPr>
          <p:cNvGrpSpPr/>
          <p:nvPr/>
        </p:nvGrpSpPr>
        <p:grpSpPr>
          <a:xfrm>
            <a:off x="7285545" y="2068990"/>
            <a:ext cx="4121839" cy="1882557"/>
            <a:chOff x="7794171" y="1375112"/>
            <a:chExt cx="4121839" cy="1887427"/>
          </a:xfrm>
        </p:grpSpPr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AAF22BC6-7D27-BF02-F1F4-D3ECF685D3C4}"/>
                </a:ext>
              </a:extLst>
            </p:cNvPr>
            <p:cNvGrpSpPr/>
            <p:nvPr/>
          </p:nvGrpSpPr>
          <p:grpSpPr>
            <a:xfrm>
              <a:off x="7794171" y="1375112"/>
              <a:ext cx="4121839" cy="1887427"/>
              <a:chOff x="7794171" y="1375112"/>
              <a:chExt cx="4121839" cy="1887427"/>
            </a:xfrm>
          </p:grpSpPr>
          <p:sp>
            <p:nvSpPr>
              <p:cNvPr id="19" name="Rechteck: abgerundete Ecken 18">
                <a:extLst>
                  <a:ext uri="{FF2B5EF4-FFF2-40B4-BE49-F238E27FC236}">
                    <a16:creationId xmlns:a16="http://schemas.microsoft.com/office/drawing/2014/main" id="{62F22EE1-D67F-38AB-F597-5BB57C81EB3C}"/>
                  </a:ext>
                </a:extLst>
              </p:cNvPr>
              <p:cNvSpPr/>
              <p:nvPr/>
            </p:nvSpPr>
            <p:spPr>
              <a:xfrm>
                <a:off x="7794171" y="1825625"/>
                <a:ext cx="4008505" cy="1436914"/>
              </a:xfrm>
              <a:prstGeom prst="roundRect">
                <a:avLst/>
              </a:prstGeom>
              <a:noFill/>
              <a:ln w="9525" cap="flat" cmpd="sng" algn="ctr">
                <a:solidFill>
                  <a:srgbClr val="0F6FC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t"/>
              <a:lstStyle/>
              <a:p>
                <a:pPr defTabSz="914363">
                  <a:defRPr/>
                </a:pPr>
                <a:r>
                  <a:rPr lang="en-US" sz="1400" kern="0" dirty="0">
                    <a:solidFill>
                      <a:srgbClr val="0F6FC6"/>
                    </a:solidFill>
                    <a:latin typeface="Segoe UI"/>
                  </a:rPr>
                  <a:t>Microsoft 365</a:t>
                </a:r>
              </a:p>
            </p:txBody>
          </p:sp>
          <p:pic>
            <p:nvPicPr>
              <p:cNvPr id="20" name="Grafik 19">
                <a:extLst>
                  <a:ext uri="{FF2B5EF4-FFF2-40B4-BE49-F238E27FC236}">
                    <a16:creationId xmlns:a16="http://schemas.microsoft.com/office/drawing/2014/main" id="{98008516-97B7-6E4A-AC02-453B7585DCC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10647997" y="1375112"/>
                <a:ext cx="1268013" cy="793887"/>
              </a:xfrm>
              <a:prstGeom prst="rect">
                <a:avLst/>
              </a:prstGeom>
            </p:spPr>
          </p:pic>
        </p:grp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D16369B6-C442-8430-3151-770543C7841B}"/>
                </a:ext>
              </a:extLst>
            </p:cNvPr>
            <p:cNvGrpSpPr/>
            <p:nvPr/>
          </p:nvGrpSpPr>
          <p:grpSpPr>
            <a:xfrm>
              <a:off x="8008278" y="2677302"/>
              <a:ext cx="3580287" cy="541110"/>
              <a:chOff x="8008278" y="2677302"/>
              <a:chExt cx="3580287" cy="541110"/>
            </a:xfrm>
          </p:grpSpPr>
          <p:pic>
            <p:nvPicPr>
              <p:cNvPr id="17" name="Grafik 16">
                <a:extLst>
                  <a:ext uri="{FF2B5EF4-FFF2-40B4-BE49-F238E27FC236}">
                    <a16:creationId xmlns:a16="http://schemas.microsoft.com/office/drawing/2014/main" id="{04AF3224-EA85-29B8-EE5A-B4E23402F7A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703671" y="2806767"/>
                <a:ext cx="381000" cy="342900"/>
              </a:xfrm>
              <a:prstGeom prst="rect">
                <a:avLst/>
              </a:prstGeom>
            </p:spPr>
          </p:pic>
          <p:sp>
            <p:nvSpPr>
              <p:cNvPr id="18" name="Rechteck: abgerundete Ecken 17">
                <a:extLst>
                  <a:ext uri="{FF2B5EF4-FFF2-40B4-BE49-F238E27FC236}">
                    <a16:creationId xmlns:a16="http://schemas.microsoft.com/office/drawing/2014/main" id="{5C710BB8-ECE3-FBB0-75E0-F0897C8287CE}"/>
                  </a:ext>
                </a:extLst>
              </p:cNvPr>
              <p:cNvSpPr/>
              <p:nvPr/>
            </p:nvSpPr>
            <p:spPr>
              <a:xfrm>
                <a:off x="8008278" y="2677302"/>
                <a:ext cx="3580287" cy="541110"/>
              </a:xfrm>
              <a:prstGeom prst="roundRect">
                <a:avLst/>
              </a:prstGeom>
              <a:noFill/>
              <a:ln w="9525" cap="flat" cmpd="sng" algn="ctr">
                <a:solidFill>
                  <a:srgbClr val="0F6FC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 defTabSz="914363">
                  <a:defRPr/>
                </a:pPr>
                <a:r>
                  <a:rPr lang="en-US" sz="1400" kern="0" dirty="0">
                    <a:solidFill>
                      <a:srgbClr val="0F6FC6"/>
                    </a:solidFill>
                    <a:latin typeface="Segoe UI"/>
                  </a:rPr>
                  <a:t>Exchange Online</a:t>
                </a:r>
              </a:p>
            </p:txBody>
          </p:sp>
        </p:grpSp>
      </p:grpSp>
      <p:sp>
        <p:nvSpPr>
          <p:cNvPr id="21" name="Rechteck: abgerundete Ecken 20" descr="Diagramm showing Exchange Hybrid Configuration Overview ">
            <a:extLst>
              <a:ext uri="{FF2B5EF4-FFF2-40B4-BE49-F238E27FC236}">
                <a16:creationId xmlns:a16="http://schemas.microsoft.com/office/drawing/2014/main" id="{08B3218E-C577-46CD-CD6F-E046C336F5DA}"/>
              </a:ext>
            </a:extLst>
          </p:cNvPr>
          <p:cNvSpPr/>
          <p:nvPr/>
        </p:nvSpPr>
        <p:spPr>
          <a:xfrm>
            <a:off x="7067831" y="3040515"/>
            <a:ext cx="4427475" cy="3431177"/>
          </a:xfrm>
          <a:prstGeom prst="roundRect">
            <a:avLst/>
          </a:prstGeom>
          <a:noFill/>
          <a:ln w="28575" cap="flat" cmpd="sng" algn="ctr">
            <a:solidFill>
              <a:schemeClr val="accent3"/>
            </a:solidFill>
            <a:prstDash val="sysDot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4485841"/>
                      <a:gd name="connsiteY0" fmla="*/ 702837 h 4216935"/>
                      <a:gd name="connsiteX1" fmla="*/ 702837 w 4485841"/>
                      <a:gd name="connsiteY1" fmla="*/ 0 h 4216935"/>
                      <a:gd name="connsiteX2" fmla="*/ 1277802 w 4485841"/>
                      <a:gd name="connsiteY2" fmla="*/ 0 h 4216935"/>
                      <a:gd name="connsiteX3" fmla="*/ 1760361 w 4485841"/>
                      <a:gd name="connsiteY3" fmla="*/ 0 h 4216935"/>
                      <a:gd name="connsiteX4" fmla="*/ 2212119 w 4485841"/>
                      <a:gd name="connsiteY4" fmla="*/ 0 h 4216935"/>
                      <a:gd name="connsiteX5" fmla="*/ 2756282 w 4485841"/>
                      <a:gd name="connsiteY5" fmla="*/ 0 h 4216935"/>
                      <a:gd name="connsiteX6" fmla="*/ 3238841 w 4485841"/>
                      <a:gd name="connsiteY6" fmla="*/ 0 h 4216935"/>
                      <a:gd name="connsiteX7" fmla="*/ 3783004 w 4485841"/>
                      <a:gd name="connsiteY7" fmla="*/ 0 h 4216935"/>
                      <a:gd name="connsiteX8" fmla="*/ 4485841 w 4485841"/>
                      <a:gd name="connsiteY8" fmla="*/ 702837 h 4216935"/>
                      <a:gd name="connsiteX9" fmla="*/ 4485841 w 4485841"/>
                      <a:gd name="connsiteY9" fmla="*/ 1208864 h 4216935"/>
                      <a:gd name="connsiteX10" fmla="*/ 4485841 w 4485841"/>
                      <a:gd name="connsiteY10" fmla="*/ 1771116 h 4216935"/>
                      <a:gd name="connsiteX11" fmla="*/ 4485841 w 4485841"/>
                      <a:gd name="connsiteY11" fmla="*/ 2333368 h 4216935"/>
                      <a:gd name="connsiteX12" fmla="*/ 4485841 w 4485841"/>
                      <a:gd name="connsiteY12" fmla="*/ 2867508 h 4216935"/>
                      <a:gd name="connsiteX13" fmla="*/ 4485841 w 4485841"/>
                      <a:gd name="connsiteY13" fmla="*/ 3514098 h 4216935"/>
                      <a:gd name="connsiteX14" fmla="*/ 3783004 w 4485841"/>
                      <a:gd name="connsiteY14" fmla="*/ 4216935 h 4216935"/>
                      <a:gd name="connsiteX15" fmla="*/ 3269643 w 4485841"/>
                      <a:gd name="connsiteY15" fmla="*/ 4216935 h 4216935"/>
                      <a:gd name="connsiteX16" fmla="*/ 2694678 w 4485841"/>
                      <a:gd name="connsiteY16" fmla="*/ 4216935 h 4216935"/>
                      <a:gd name="connsiteX17" fmla="*/ 2181317 w 4485841"/>
                      <a:gd name="connsiteY17" fmla="*/ 4216935 h 4216935"/>
                      <a:gd name="connsiteX18" fmla="*/ 1760361 w 4485841"/>
                      <a:gd name="connsiteY18" fmla="*/ 4216935 h 4216935"/>
                      <a:gd name="connsiteX19" fmla="*/ 1308603 w 4485841"/>
                      <a:gd name="connsiteY19" fmla="*/ 4216935 h 4216935"/>
                      <a:gd name="connsiteX20" fmla="*/ 702837 w 4485841"/>
                      <a:gd name="connsiteY20" fmla="*/ 4216935 h 4216935"/>
                      <a:gd name="connsiteX21" fmla="*/ 0 w 4485841"/>
                      <a:gd name="connsiteY21" fmla="*/ 3514098 h 4216935"/>
                      <a:gd name="connsiteX22" fmla="*/ 0 w 4485841"/>
                      <a:gd name="connsiteY22" fmla="*/ 3008071 h 4216935"/>
                      <a:gd name="connsiteX23" fmla="*/ 0 w 4485841"/>
                      <a:gd name="connsiteY23" fmla="*/ 2530157 h 4216935"/>
                      <a:gd name="connsiteX24" fmla="*/ 0 w 4485841"/>
                      <a:gd name="connsiteY24" fmla="*/ 2052242 h 4216935"/>
                      <a:gd name="connsiteX25" fmla="*/ 0 w 4485841"/>
                      <a:gd name="connsiteY25" fmla="*/ 1489990 h 4216935"/>
                      <a:gd name="connsiteX26" fmla="*/ 0 w 4485841"/>
                      <a:gd name="connsiteY26" fmla="*/ 702837 h 421693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</a:cxnLst>
                    <a:rect l="l" t="t" r="r" b="b"/>
                    <a:pathLst>
                      <a:path w="4485841" h="4216935" extrusionOk="0">
                        <a:moveTo>
                          <a:pt x="0" y="702837"/>
                        </a:moveTo>
                        <a:cubicBezTo>
                          <a:pt x="-96001" y="255455"/>
                          <a:pt x="266772" y="17977"/>
                          <a:pt x="702837" y="0"/>
                        </a:cubicBezTo>
                        <a:cubicBezTo>
                          <a:pt x="897927" y="-58606"/>
                          <a:pt x="1107915" y="48592"/>
                          <a:pt x="1277802" y="0"/>
                        </a:cubicBezTo>
                        <a:cubicBezTo>
                          <a:pt x="1447689" y="-48592"/>
                          <a:pt x="1653487" y="7522"/>
                          <a:pt x="1760361" y="0"/>
                        </a:cubicBezTo>
                        <a:cubicBezTo>
                          <a:pt x="1867235" y="-7522"/>
                          <a:pt x="2104838" y="34438"/>
                          <a:pt x="2212119" y="0"/>
                        </a:cubicBezTo>
                        <a:cubicBezTo>
                          <a:pt x="2319400" y="-34438"/>
                          <a:pt x="2502317" y="44956"/>
                          <a:pt x="2756282" y="0"/>
                        </a:cubicBezTo>
                        <a:cubicBezTo>
                          <a:pt x="3010247" y="-44956"/>
                          <a:pt x="3040101" y="36333"/>
                          <a:pt x="3238841" y="0"/>
                        </a:cubicBezTo>
                        <a:cubicBezTo>
                          <a:pt x="3437581" y="-36333"/>
                          <a:pt x="3594978" y="62382"/>
                          <a:pt x="3783004" y="0"/>
                        </a:cubicBezTo>
                        <a:cubicBezTo>
                          <a:pt x="4162388" y="-83747"/>
                          <a:pt x="4466563" y="341463"/>
                          <a:pt x="4485841" y="702837"/>
                        </a:cubicBezTo>
                        <a:cubicBezTo>
                          <a:pt x="4533611" y="845302"/>
                          <a:pt x="4432755" y="1103243"/>
                          <a:pt x="4485841" y="1208864"/>
                        </a:cubicBezTo>
                        <a:cubicBezTo>
                          <a:pt x="4538927" y="1314485"/>
                          <a:pt x="4477789" y="1649172"/>
                          <a:pt x="4485841" y="1771116"/>
                        </a:cubicBezTo>
                        <a:cubicBezTo>
                          <a:pt x="4493893" y="1893060"/>
                          <a:pt x="4450271" y="2184675"/>
                          <a:pt x="4485841" y="2333368"/>
                        </a:cubicBezTo>
                        <a:cubicBezTo>
                          <a:pt x="4521411" y="2482061"/>
                          <a:pt x="4447469" y="2629944"/>
                          <a:pt x="4485841" y="2867508"/>
                        </a:cubicBezTo>
                        <a:cubicBezTo>
                          <a:pt x="4524213" y="3105072"/>
                          <a:pt x="4446409" y="3313430"/>
                          <a:pt x="4485841" y="3514098"/>
                        </a:cubicBezTo>
                        <a:cubicBezTo>
                          <a:pt x="4496330" y="3889242"/>
                          <a:pt x="4109219" y="4192986"/>
                          <a:pt x="3783004" y="4216935"/>
                        </a:cubicBezTo>
                        <a:cubicBezTo>
                          <a:pt x="3664904" y="4222734"/>
                          <a:pt x="3373884" y="4216849"/>
                          <a:pt x="3269643" y="4216935"/>
                        </a:cubicBezTo>
                        <a:cubicBezTo>
                          <a:pt x="3165402" y="4217021"/>
                          <a:pt x="2980315" y="4168994"/>
                          <a:pt x="2694678" y="4216935"/>
                        </a:cubicBezTo>
                        <a:cubicBezTo>
                          <a:pt x="2409042" y="4264876"/>
                          <a:pt x="2340730" y="4173799"/>
                          <a:pt x="2181317" y="4216935"/>
                        </a:cubicBezTo>
                        <a:cubicBezTo>
                          <a:pt x="2021904" y="4260071"/>
                          <a:pt x="1900773" y="4195431"/>
                          <a:pt x="1760361" y="4216935"/>
                        </a:cubicBezTo>
                        <a:cubicBezTo>
                          <a:pt x="1619949" y="4238439"/>
                          <a:pt x="1424486" y="4194196"/>
                          <a:pt x="1308603" y="4216935"/>
                        </a:cubicBezTo>
                        <a:cubicBezTo>
                          <a:pt x="1192720" y="4239674"/>
                          <a:pt x="936750" y="4153641"/>
                          <a:pt x="702837" y="4216935"/>
                        </a:cubicBezTo>
                        <a:cubicBezTo>
                          <a:pt x="324586" y="4214837"/>
                          <a:pt x="1771" y="3919084"/>
                          <a:pt x="0" y="3514098"/>
                        </a:cubicBezTo>
                        <a:cubicBezTo>
                          <a:pt x="-48940" y="3262440"/>
                          <a:pt x="41589" y="3238493"/>
                          <a:pt x="0" y="3008071"/>
                        </a:cubicBezTo>
                        <a:cubicBezTo>
                          <a:pt x="-41589" y="2777649"/>
                          <a:pt x="38803" y="2670079"/>
                          <a:pt x="0" y="2530157"/>
                        </a:cubicBezTo>
                        <a:cubicBezTo>
                          <a:pt x="-38803" y="2390235"/>
                          <a:pt x="14977" y="2164964"/>
                          <a:pt x="0" y="2052242"/>
                        </a:cubicBezTo>
                        <a:cubicBezTo>
                          <a:pt x="-14977" y="1939520"/>
                          <a:pt x="45063" y="1624621"/>
                          <a:pt x="0" y="1489990"/>
                        </a:cubicBezTo>
                        <a:cubicBezTo>
                          <a:pt x="-45063" y="1355359"/>
                          <a:pt x="91104" y="939259"/>
                          <a:pt x="0" y="702837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defTabSz="914363">
              <a:defRPr/>
            </a:pPr>
            <a:r>
              <a:rPr lang="en-US" kern="0" dirty="0">
                <a:solidFill>
                  <a:schemeClr val="accent3"/>
                </a:solidFill>
                <a:latin typeface="Segoe UI"/>
              </a:rPr>
              <a:t>Hybrid Configuration</a:t>
            </a:r>
          </a:p>
          <a:p>
            <a:pPr algn="ctr" defTabSz="914363">
              <a:defRPr/>
            </a:pPr>
            <a:endParaRPr lang="en-US" kern="0" dirty="0">
              <a:solidFill>
                <a:srgbClr val="A5C249"/>
              </a:solidFill>
              <a:latin typeface="Segoe UI"/>
            </a:endParaRPr>
          </a:p>
          <a:p>
            <a:pPr algn="ctr" defTabSz="914363">
              <a:defRPr/>
            </a:pPr>
            <a:endParaRPr lang="en-US" kern="0" dirty="0">
              <a:solidFill>
                <a:srgbClr val="A5C249"/>
              </a:solidFill>
              <a:latin typeface="Segoe UI"/>
            </a:endParaRPr>
          </a:p>
          <a:p>
            <a:pPr algn="ctr" defTabSz="914363">
              <a:defRPr/>
            </a:pPr>
            <a:endParaRPr lang="en-US" kern="0" dirty="0">
              <a:solidFill>
                <a:srgbClr val="A5C249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553816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uiExpand="1" build="p"/>
      <p:bldP spid="8" grpId="0" animBg="1"/>
      <p:bldP spid="21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4D62E0DF-D33E-C59D-C745-2F8B93AC04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686544" cy="1325563"/>
          </a:xfrm>
        </p:spPr>
        <p:txBody>
          <a:bodyPr/>
          <a:lstStyle/>
          <a:p>
            <a:r>
              <a:rPr lang="en-US" dirty="0"/>
              <a:t>Two Variants – Three Modes of Operation</a:t>
            </a:r>
            <a:br>
              <a:rPr lang="en-US" dirty="0"/>
            </a:br>
            <a:endParaRPr lang="en-US" dirty="0"/>
          </a:p>
        </p:txBody>
      </p:sp>
      <p:graphicFrame>
        <p:nvGraphicFramePr>
          <p:cNvPr id="7" name="Diagram 4">
            <a:extLst>
              <a:ext uri="{FF2B5EF4-FFF2-40B4-BE49-F238E27FC236}">
                <a16:creationId xmlns:a16="http://schemas.microsoft.com/office/drawing/2014/main" id="{64EAB8BD-143C-6F38-05EB-A4A9C309CD2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9237550"/>
              </p:ext>
            </p:extLst>
          </p:nvPr>
        </p:nvGraphicFramePr>
        <p:xfrm>
          <a:off x="2661982" y="1835694"/>
          <a:ext cx="6868035" cy="40105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549E3021-1A67-977F-3C7F-471EFC08386C}"/>
              </a:ext>
            </a:extLst>
          </p:cNvPr>
          <p:cNvSpPr/>
          <p:nvPr/>
        </p:nvSpPr>
        <p:spPr bwMode="auto">
          <a:xfrm>
            <a:off x="210312" y="3145536"/>
            <a:ext cx="9464040" cy="1399032"/>
          </a:xfrm>
          <a:prstGeom prst="roundRect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09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Variants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5A28B158-FFD8-E815-3473-B4A5CE6081AA}"/>
              </a:ext>
            </a:extLst>
          </p:cNvPr>
          <p:cNvSpPr/>
          <p:nvPr/>
        </p:nvSpPr>
        <p:spPr bwMode="auto">
          <a:xfrm>
            <a:off x="210312" y="4551616"/>
            <a:ext cx="9464040" cy="1399032"/>
          </a:xfrm>
          <a:prstGeom prst="roundRect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09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Operation</a:t>
            </a:r>
            <a:r>
              <a:rPr kumimoji="0" lang="en-US" sz="2200" b="0" i="0" u="none" strike="noStrike" kern="0" cap="none" spc="0" normalizeH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  Modes</a:t>
            </a:r>
            <a:endParaRPr kumimoji="0" lang="en-US" sz="2200" b="0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145493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73855E22-3BA3-4FF4-B9CD-6D066C64E99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graphicEl>
                                              <a:dgm id="{73855E22-3BA3-4FF4-B9CD-6D066C64E99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19AE3AC6-CFD4-4D0D-B993-97041046FD7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graphicEl>
                                              <a:dgm id="{19AE3AC6-CFD4-4D0D-B993-97041046FD7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AD9270F0-250C-4D1C-B74F-FE21A17D606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>
                                            <p:graphicEl>
                                              <a:dgm id="{AD9270F0-250C-4D1C-B74F-FE21A17D606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7AAF8860-9FF9-4666-B5F1-33F323E6AE9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">
                                            <p:graphicEl>
                                              <a:dgm id="{7AAF8860-9FF9-4666-B5F1-33F323E6AE9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09D2681C-7BD9-42AD-AAF1-FC73A69819C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>
                                            <p:graphicEl>
                                              <a:dgm id="{09D2681C-7BD9-42AD-AAF1-FC73A69819C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500"/>
                            </p:stCondLst>
                            <p:childTnLst>
                              <p:par>
                                <p:cTn id="24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3000"/>
                            </p:stCondLst>
                            <p:childTnLst>
                              <p:par>
                                <p:cTn id="2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72CA3688-8F96-47CC-AF18-C7375175F33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7">
                                            <p:graphicEl>
                                              <a:dgm id="{72CA3688-8F96-47CC-AF18-C7375175F33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7AED02CF-A26A-4B56-8EE6-42BE9B33775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7">
                                            <p:graphicEl>
                                              <a:dgm id="{7AED02CF-A26A-4B56-8EE6-42BE9B33775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5BA10024-C3DD-4F1F-93E0-32A65B9B32C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7">
                                            <p:graphicEl>
                                              <a:dgm id="{5BA10024-C3DD-4F1F-93E0-32A65B9B32C2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 uiExpand="1">
        <p:bldSub>
          <a:bldDgm bld="one"/>
        </p:bldSub>
      </p:bldGraphic>
      <p:bldP spid="4" grpId="0" animBg="1"/>
      <p:bldP spid="6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7B192B8-2FCC-4E38-041D-EED152EF43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assic Full Hybrid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BD588F2B-90D3-E5C9-F8B5-AFD44ED839A7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Autofit/>
          </a:bodyPr>
          <a:lstStyle/>
          <a:p>
            <a:r>
              <a:rPr lang="en-US" sz="2400" dirty="0"/>
              <a:t>Active Directory Hybrid with Azure </a:t>
            </a:r>
            <a:br>
              <a:rPr lang="en-US" sz="2400" dirty="0"/>
            </a:br>
            <a:r>
              <a:rPr lang="en-US" sz="2400" dirty="0"/>
              <a:t>AD Connect</a:t>
            </a:r>
          </a:p>
          <a:p>
            <a:pPr lvl="1"/>
            <a:r>
              <a:rPr lang="en-US" sz="1800" dirty="0"/>
              <a:t>Exchange Hybrid option enabled</a:t>
            </a:r>
          </a:p>
          <a:p>
            <a:r>
              <a:rPr lang="en-US" sz="2400" dirty="0"/>
              <a:t>SMTP connection between </a:t>
            </a:r>
            <a:br>
              <a:rPr lang="en-US" sz="2400" dirty="0"/>
            </a:br>
            <a:r>
              <a:rPr lang="en-US" sz="2400" dirty="0"/>
              <a:t>on-premises and Exchange Online</a:t>
            </a:r>
          </a:p>
          <a:p>
            <a:pPr lvl="1"/>
            <a:r>
              <a:rPr lang="en-US" sz="1800" dirty="0"/>
              <a:t>Separate hostname </a:t>
            </a:r>
            <a:br>
              <a:rPr lang="en-US" sz="1800" dirty="0"/>
            </a:br>
            <a:r>
              <a:rPr lang="en-US" sz="1800" dirty="0"/>
              <a:t>(e.g., smtp365.company.com) </a:t>
            </a:r>
          </a:p>
          <a:p>
            <a:pPr lvl="1"/>
            <a:r>
              <a:rPr lang="en-US" sz="1800" dirty="0"/>
              <a:t>Additional public IP address</a:t>
            </a:r>
          </a:p>
          <a:p>
            <a:pPr lvl="1"/>
            <a:r>
              <a:rPr lang="en-US" sz="1800" dirty="0"/>
              <a:t>TLS certificate for hostname</a:t>
            </a:r>
          </a:p>
          <a:p>
            <a:pPr lvl="1"/>
            <a:r>
              <a:rPr lang="en-US" sz="1800" dirty="0"/>
              <a:t>Edge Transport Role in </a:t>
            </a:r>
            <a:br>
              <a:rPr lang="en-US" sz="1800" dirty="0"/>
            </a:br>
            <a:r>
              <a:rPr lang="en-US" sz="1800" dirty="0"/>
              <a:t>perimeter network (1)</a:t>
            </a:r>
          </a:p>
          <a:p>
            <a:pPr lvl="1"/>
            <a:r>
              <a:rPr lang="en-US" sz="1800" dirty="0"/>
              <a:t>Alternatively, direct </a:t>
            </a:r>
            <a:br>
              <a:rPr lang="en-US" sz="1800" dirty="0"/>
            </a:br>
            <a:r>
              <a:rPr lang="en-US" sz="1800" dirty="0"/>
              <a:t>inbound connection (2)</a:t>
            </a:r>
          </a:p>
        </p:txBody>
      </p:sp>
      <p:sp>
        <p:nvSpPr>
          <p:cNvPr id="8" name="Rectangle 727">
            <a:extLst>
              <a:ext uri="{FF2B5EF4-FFF2-40B4-BE49-F238E27FC236}">
                <a16:creationId xmlns:a16="http://schemas.microsoft.com/office/drawing/2014/main" id="{0585D25F-3787-5B9B-E224-10F5AD468CF7}"/>
              </a:ext>
            </a:extLst>
          </p:cNvPr>
          <p:cNvSpPr/>
          <p:nvPr/>
        </p:nvSpPr>
        <p:spPr bwMode="auto">
          <a:xfrm>
            <a:off x="5662557" y="327896"/>
            <a:ext cx="6474028" cy="645080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1397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grpSp>
        <p:nvGrpSpPr>
          <p:cNvPr id="9" name="Gruppieren 8" descr="On-Premises Exchange Organisasation">
            <a:extLst>
              <a:ext uri="{FF2B5EF4-FFF2-40B4-BE49-F238E27FC236}">
                <a16:creationId xmlns:a16="http://schemas.microsoft.com/office/drawing/2014/main" id="{534E09AB-311F-BD4F-9993-96CF1263C9FD}"/>
              </a:ext>
            </a:extLst>
          </p:cNvPr>
          <p:cNvGrpSpPr/>
          <p:nvPr/>
        </p:nvGrpSpPr>
        <p:grpSpPr>
          <a:xfrm>
            <a:off x="6477458" y="5146275"/>
            <a:ext cx="3762869" cy="1099821"/>
            <a:chOff x="6532873" y="5161279"/>
            <a:chExt cx="3762869" cy="1099821"/>
          </a:xfrm>
        </p:grpSpPr>
        <p:pic>
          <p:nvPicPr>
            <p:cNvPr id="10" name="Grafik 9" descr="Exchange Server 2019">
              <a:extLst>
                <a:ext uri="{FF2B5EF4-FFF2-40B4-BE49-F238E27FC236}">
                  <a16:creationId xmlns:a16="http://schemas.microsoft.com/office/drawing/2014/main" id="{F4F80304-9D07-1FC5-C674-795491E70CE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022646" y="5237208"/>
              <a:ext cx="771525" cy="752475"/>
            </a:xfrm>
            <a:prstGeom prst="rect">
              <a:avLst/>
            </a:prstGeom>
          </p:spPr>
        </p:pic>
        <p:pic>
          <p:nvPicPr>
            <p:cNvPr id="11" name="Grafik 10" descr="Exchange Server 2016">
              <a:extLst>
                <a:ext uri="{FF2B5EF4-FFF2-40B4-BE49-F238E27FC236}">
                  <a16:creationId xmlns:a16="http://schemas.microsoft.com/office/drawing/2014/main" id="{AEBE86D7-B183-72E5-4BDC-881B6408FB8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196670" y="5222920"/>
              <a:ext cx="809625" cy="781050"/>
            </a:xfrm>
            <a:prstGeom prst="rect">
              <a:avLst/>
            </a:prstGeom>
          </p:spPr>
        </p:pic>
        <p:pic>
          <p:nvPicPr>
            <p:cNvPr id="12" name="Grafik 11" descr="Exchange Server 2013">
              <a:extLst>
                <a:ext uri="{FF2B5EF4-FFF2-40B4-BE49-F238E27FC236}">
                  <a16:creationId xmlns:a16="http://schemas.microsoft.com/office/drawing/2014/main" id="{171BEDCC-A035-A5D1-0D8F-5DD322DC8E8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408794" y="5237208"/>
              <a:ext cx="809625" cy="781050"/>
            </a:xfrm>
            <a:prstGeom prst="rect">
              <a:avLst/>
            </a:prstGeom>
          </p:spPr>
        </p:pic>
        <p:sp>
          <p:nvSpPr>
            <p:cNvPr id="13" name="Rechteck: abgerundete Ecken 12">
              <a:extLst>
                <a:ext uri="{FF2B5EF4-FFF2-40B4-BE49-F238E27FC236}">
                  <a16:creationId xmlns:a16="http://schemas.microsoft.com/office/drawing/2014/main" id="{E92BE129-CF31-6BC9-9B3E-47EAC11D2D87}"/>
                </a:ext>
              </a:extLst>
            </p:cNvPr>
            <p:cNvSpPr/>
            <p:nvPr/>
          </p:nvSpPr>
          <p:spPr>
            <a:xfrm>
              <a:off x="6532873" y="5161279"/>
              <a:ext cx="3762869" cy="1099821"/>
            </a:xfrm>
            <a:prstGeom prst="roundRect">
              <a:avLst/>
            </a:prstGeom>
            <a:noFill/>
            <a:ln w="9525" cap="flat" cmpd="sng" algn="ctr">
              <a:solidFill>
                <a:srgbClr val="0F6FC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b"/>
            <a:lstStyle/>
            <a:p>
              <a:pPr marL="0" marR="0" lvl="0" indent="0" defTabSz="914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On-Premises Exchange Organization</a:t>
              </a:r>
            </a:p>
          </p:txBody>
        </p:sp>
      </p:grpSp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4EE8C338-507E-19DF-3C89-4E6737A8EBF0}"/>
              </a:ext>
            </a:extLst>
          </p:cNvPr>
          <p:cNvSpPr/>
          <p:nvPr/>
        </p:nvSpPr>
        <p:spPr>
          <a:xfrm>
            <a:off x="5756105" y="1681717"/>
            <a:ext cx="6316321" cy="5034820"/>
          </a:xfrm>
          <a:prstGeom prst="roundRect">
            <a:avLst/>
          </a:prstGeom>
          <a:noFill/>
          <a:ln w="28575" cap="flat" cmpd="sng" algn="ctr">
            <a:solidFill>
              <a:schemeClr val="accent3"/>
            </a:solidFill>
            <a:prstDash val="sysDot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4485841"/>
                      <a:gd name="connsiteY0" fmla="*/ 702837 h 4216935"/>
                      <a:gd name="connsiteX1" fmla="*/ 702837 w 4485841"/>
                      <a:gd name="connsiteY1" fmla="*/ 0 h 4216935"/>
                      <a:gd name="connsiteX2" fmla="*/ 1277802 w 4485841"/>
                      <a:gd name="connsiteY2" fmla="*/ 0 h 4216935"/>
                      <a:gd name="connsiteX3" fmla="*/ 1760361 w 4485841"/>
                      <a:gd name="connsiteY3" fmla="*/ 0 h 4216935"/>
                      <a:gd name="connsiteX4" fmla="*/ 2212119 w 4485841"/>
                      <a:gd name="connsiteY4" fmla="*/ 0 h 4216935"/>
                      <a:gd name="connsiteX5" fmla="*/ 2756282 w 4485841"/>
                      <a:gd name="connsiteY5" fmla="*/ 0 h 4216935"/>
                      <a:gd name="connsiteX6" fmla="*/ 3238841 w 4485841"/>
                      <a:gd name="connsiteY6" fmla="*/ 0 h 4216935"/>
                      <a:gd name="connsiteX7" fmla="*/ 3783004 w 4485841"/>
                      <a:gd name="connsiteY7" fmla="*/ 0 h 4216935"/>
                      <a:gd name="connsiteX8" fmla="*/ 4485841 w 4485841"/>
                      <a:gd name="connsiteY8" fmla="*/ 702837 h 4216935"/>
                      <a:gd name="connsiteX9" fmla="*/ 4485841 w 4485841"/>
                      <a:gd name="connsiteY9" fmla="*/ 1208864 h 4216935"/>
                      <a:gd name="connsiteX10" fmla="*/ 4485841 w 4485841"/>
                      <a:gd name="connsiteY10" fmla="*/ 1771116 h 4216935"/>
                      <a:gd name="connsiteX11" fmla="*/ 4485841 w 4485841"/>
                      <a:gd name="connsiteY11" fmla="*/ 2333368 h 4216935"/>
                      <a:gd name="connsiteX12" fmla="*/ 4485841 w 4485841"/>
                      <a:gd name="connsiteY12" fmla="*/ 2867508 h 4216935"/>
                      <a:gd name="connsiteX13" fmla="*/ 4485841 w 4485841"/>
                      <a:gd name="connsiteY13" fmla="*/ 3514098 h 4216935"/>
                      <a:gd name="connsiteX14" fmla="*/ 3783004 w 4485841"/>
                      <a:gd name="connsiteY14" fmla="*/ 4216935 h 4216935"/>
                      <a:gd name="connsiteX15" fmla="*/ 3269643 w 4485841"/>
                      <a:gd name="connsiteY15" fmla="*/ 4216935 h 4216935"/>
                      <a:gd name="connsiteX16" fmla="*/ 2694678 w 4485841"/>
                      <a:gd name="connsiteY16" fmla="*/ 4216935 h 4216935"/>
                      <a:gd name="connsiteX17" fmla="*/ 2181317 w 4485841"/>
                      <a:gd name="connsiteY17" fmla="*/ 4216935 h 4216935"/>
                      <a:gd name="connsiteX18" fmla="*/ 1760361 w 4485841"/>
                      <a:gd name="connsiteY18" fmla="*/ 4216935 h 4216935"/>
                      <a:gd name="connsiteX19" fmla="*/ 1308603 w 4485841"/>
                      <a:gd name="connsiteY19" fmla="*/ 4216935 h 4216935"/>
                      <a:gd name="connsiteX20" fmla="*/ 702837 w 4485841"/>
                      <a:gd name="connsiteY20" fmla="*/ 4216935 h 4216935"/>
                      <a:gd name="connsiteX21" fmla="*/ 0 w 4485841"/>
                      <a:gd name="connsiteY21" fmla="*/ 3514098 h 4216935"/>
                      <a:gd name="connsiteX22" fmla="*/ 0 w 4485841"/>
                      <a:gd name="connsiteY22" fmla="*/ 3008071 h 4216935"/>
                      <a:gd name="connsiteX23" fmla="*/ 0 w 4485841"/>
                      <a:gd name="connsiteY23" fmla="*/ 2530157 h 4216935"/>
                      <a:gd name="connsiteX24" fmla="*/ 0 w 4485841"/>
                      <a:gd name="connsiteY24" fmla="*/ 2052242 h 4216935"/>
                      <a:gd name="connsiteX25" fmla="*/ 0 w 4485841"/>
                      <a:gd name="connsiteY25" fmla="*/ 1489990 h 4216935"/>
                      <a:gd name="connsiteX26" fmla="*/ 0 w 4485841"/>
                      <a:gd name="connsiteY26" fmla="*/ 702837 h 421693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</a:cxnLst>
                    <a:rect l="l" t="t" r="r" b="b"/>
                    <a:pathLst>
                      <a:path w="4485841" h="4216935" extrusionOk="0">
                        <a:moveTo>
                          <a:pt x="0" y="702837"/>
                        </a:moveTo>
                        <a:cubicBezTo>
                          <a:pt x="-96001" y="255455"/>
                          <a:pt x="266772" y="17977"/>
                          <a:pt x="702837" y="0"/>
                        </a:cubicBezTo>
                        <a:cubicBezTo>
                          <a:pt x="897927" y="-58606"/>
                          <a:pt x="1107915" y="48592"/>
                          <a:pt x="1277802" y="0"/>
                        </a:cubicBezTo>
                        <a:cubicBezTo>
                          <a:pt x="1447689" y="-48592"/>
                          <a:pt x="1653487" y="7522"/>
                          <a:pt x="1760361" y="0"/>
                        </a:cubicBezTo>
                        <a:cubicBezTo>
                          <a:pt x="1867235" y="-7522"/>
                          <a:pt x="2104838" y="34438"/>
                          <a:pt x="2212119" y="0"/>
                        </a:cubicBezTo>
                        <a:cubicBezTo>
                          <a:pt x="2319400" y="-34438"/>
                          <a:pt x="2502317" y="44956"/>
                          <a:pt x="2756282" y="0"/>
                        </a:cubicBezTo>
                        <a:cubicBezTo>
                          <a:pt x="3010247" y="-44956"/>
                          <a:pt x="3040101" y="36333"/>
                          <a:pt x="3238841" y="0"/>
                        </a:cubicBezTo>
                        <a:cubicBezTo>
                          <a:pt x="3437581" y="-36333"/>
                          <a:pt x="3594978" y="62382"/>
                          <a:pt x="3783004" y="0"/>
                        </a:cubicBezTo>
                        <a:cubicBezTo>
                          <a:pt x="4162388" y="-83747"/>
                          <a:pt x="4466563" y="341463"/>
                          <a:pt x="4485841" y="702837"/>
                        </a:cubicBezTo>
                        <a:cubicBezTo>
                          <a:pt x="4533611" y="845302"/>
                          <a:pt x="4432755" y="1103243"/>
                          <a:pt x="4485841" y="1208864"/>
                        </a:cubicBezTo>
                        <a:cubicBezTo>
                          <a:pt x="4538927" y="1314485"/>
                          <a:pt x="4477789" y="1649172"/>
                          <a:pt x="4485841" y="1771116"/>
                        </a:cubicBezTo>
                        <a:cubicBezTo>
                          <a:pt x="4493893" y="1893060"/>
                          <a:pt x="4450271" y="2184675"/>
                          <a:pt x="4485841" y="2333368"/>
                        </a:cubicBezTo>
                        <a:cubicBezTo>
                          <a:pt x="4521411" y="2482061"/>
                          <a:pt x="4447469" y="2629944"/>
                          <a:pt x="4485841" y="2867508"/>
                        </a:cubicBezTo>
                        <a:cubicBezTo>
                          <a:pt x="4524213" y="3105072"/>
                          <a:pt x="4446409" y="3313430"/>
                          <a:pt x="4485841" y="3514098"/>
                        </a:cubicBezTo>
                        <a:cubicBezTo>
                          <a:pt x="4496330" y="3889242"/>
                          <a:pt x="4109219" y="4192986"/>
                          <a:pt x="3783004" y="4216935"/>
                        </a:cubicBezTo>
                        <a:cubicBezTo>
                          <a:pt x="3664904" y="4222734"/>
                          <a:pt x="3373884" y="4216849"/>
                          <a:pt x="3269643" y="4216935"/>
                        </a:cubicBezTo>
                        <a:cubicBezTo>
                          <a:pt x="3165402" y="4217021"/>
                          <a:pt x="2980315" y="4168994"/>
                          <a:pt x="2694678" y="4216935"/>
                        </a:cubicBezTo>
                        <a:cubicBezTo>
                          <a:pt x="2409042" y="4264876"/>
                          <a:pt x="2340730" y="4173799"/>
                          <a:pt x="2181317" y="4216935"/>
                        </a:cubicBezTo>
                        <a:cubicBezTo>
                          <a:pt x="2021904" y="4260071"/>
                          <a:pt x="1900773" y="4195431"/>
                          <a:pt x="1760361" y="4216935"/>
                        </a:cubicBezTo>
                        <a:cubicBezTo>
                          <a:pt x="1619949" y="4238439"/>
                          <a:pt x="1424486" y="4194196"/>
                          <a:pt x="1308603" y="4216935"/>
                        </a:cubicBezTo>
                        <a:cubicBezTo>
                          <a:pt x="1192720" y="4239674"/>
                          <a:pt x="936750" y="4153641"/>
                          <a:pt x="702837" y="4216935"/>
                        </a:cubicBezTo>
                        <a:cubicBezTo>
                          <a:pt x="324586" y="4214837"/>
                          <a:pt x="1771" y="3919084"/>
                          <a:pt x="0" y="3514098"/>
                        </a:cubicBezTo>
                        <a:cubicBezTo>
                          <a:pt x="-48940" y="3262440"/>
                          <a:pt x="41589" y="3238493"/>
                          <a:pt x="0" y="3008071"/>
                        </a:cubicBezTo>
                        <a:cubicBezTo>
                          <a:pt x="-41589" y="2777649"/>
                          <a:pt x="38803" y="2670079"/>
                          <a:pt x="0" y="2530157"/>
                        </a:cubicBezTo>
                        <a:cubicBezTo>
                          <a:pt x="-38803" y="2390235"/>
                          <a:pt x="14977" y="2164964"/>
                          <a:pt x="0" y="2052242"/>
                        </a:cubicBezTo>
                        <a:cubicBezTo>
                          <a:pt x="-14977" y="1939520"/>
                          <a:pt x="45063" y="1624621"/>
                          <a:pt x="0" y="1489990"/>
                        </a:cubicBezTo>
                        <a:cubicBezTo>
                          <a:pt x="-45063" y="1355359"/>
                          <a:pt x="91104" y="939259"/>
                          <a:pt x="0" y="702837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vert="vert270" rtlCol="0" anchor="t"/>
          <a:lstStyle/>
          <a:p>
            <a:pPr marL="0" marR="0" lvl="0" indent="0" algn="ctr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Hybrid Configuration</a:t>
            </a:r>
          </a:p>
          <a:p>
            <a:pPr marL="0" marR="0" lvl="0" indent="0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5" name="Grafik 14" descr="AAD Connect Server">
            <a:extLst>
              <a:ext uri="{FF2B5EF4-FFF2-40B4-BE49-F238E27FC236}">
                <a16:creationId xmlns:a16="http://schemas.microsoft.com/office/drawing/2014/main" id="{C9D81431-3131-F33A-B28B-98C8A240A8C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552803" y="5207916"/>
            <a:ext cx="685800" cy="800100"/>
          </a:xfrm>
          <a:prstGeom prst="rect">
            <a:avLst/>
          </a:prstGeom>
        </p:spPr>
      </p:pic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3546A314-7AA4-D342-C9AE-BD48AD04D691}"/>
              </a:ext>
            </a:extLst>
          </p:cNvPr>
          <p:cNvSpPr/>
          <p:nvPr/>
        </p:nvSpPr>
        <p:spPr>
          <a:xfrm>
            <a:off x="6335226" y="3610982"/>
            <a:ext cx="5412035" cy="1398276"/>
          </a:xfrm>
          <a:prstGeom prst="roundRect">
            <a:avLst/>
          </a:prstGeom>
          <a:noFill/>
          <a:ln w="9525" cap="flat" cmpd="sng" algn="ctr">
            <a:solidFill>
              <a:srgbClr val="0F6FC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rtlCol="0" anchor="b"/>
          <a:lstStyle/>
          <a:p>
            <a:pPr marL="0" marR="0" lvl="0" indent="0" algn="ctr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erimeter Network</a:t>
            </a:r>
          </a:p>
        </p:txBody>
      </p:sp>
      <p:grpSp>
        <p:nvGrpSpPr>
          <p:cNvPr id="18" name="Gruppieren 17" descr="Microsoft 365 with Exchange Online and Azure AD">
            <a:extLst>
              <a:ext uri="{FF2B5EF4-FFF2-40B4-BE49-F238E27FC236}">
                <a16:creationId xmlns:a16="http://schemas.microsoft.com/office/drawing/2014/main" id="{49077CD9-2CB9-DD0E-F70A-78EA5B2A8A28}"/>
              </a:ext>
            </a:extLst>
          </p:cNvPr>
          <p:cNvGrpSpPr/>
          <p:nvPr/>
        </p:nvGrpSpPr>
        <p:grpSpPr>
          <a:xfrm>
            <a:off x="6335226" y="440671"/>
            <a:ext cx="5737200" cy="2085504"/>
            <a:chOff x="6390641" y="455675"/>
            <a:chExt cx="5737200" cy="2085504"/>
          </a:xfrm>
        </p:grpSpPr>
        <p:sp>
          <p:nvSpPr>
            <p:cNvPr id="19" name="Rechteck: abgerundete Ecken 18">
              <a:extLst>
                <a:ext uri="{FF2B5EF4-FFF2-40B4-BE49-F238E27FC236}">
                  <a16:creationId xmlns:a16="http://schemas.microsoft.com/office/drawing/2014/main" id="{07252943-B268-CC13-837B-CA8181616504}"/>
                </a:ext>
              </a:extLst>
            </p:cNvPr>
            <p:cNvSpPr/>
            <p:nvPr/>
          </p:nvSpPr>
          <p:spPr>
            <a:xfrm>
              <a:off x="6390641" y="1104265"/>
              <a:ext cx="5412035" cy="1436914"/>
            </a:xfrm>
            <a:prstGeom prst="roundRect">
              <a:avLst/>
            </a:prstGeom>
            <a:noFill/>
            <a:ln w="9525" cap="flat" cmpd="sng" algn="ctr">
              <a:solidFill>
                <a:srgbClr val="0F6FC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t"/>
            <a:lstStyle/>
            <a:p>
              <a:pPr marL="0" marR="0" lvl="0" indent="0" defTabSz="914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Microsoft 365</a:t>
              </a:r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691B3EE7-3FA8-1C28-2D68-C51B74B2D75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485594" y="455675"/>
              <a:ext cx="1642247" cy="1026404"/>
            </a:xfrm>
            <a:prstGeom prst="rect">
              <a:avLst/>
            </a:prstGeom>
          </p:spPr>
        </p:pic>
        <p:grpSp>
          <p:nvGrpSpPr>
            <p:cNvPr id="21" name="Gruppieren 20">
              <a:extLst>
                <a:ext uri="{FF2B5EF4-FFF2-40B4-BE49-F238E27FC236}">
                  <a16:creationId xmlns:a16="http://schemas.microsoft.com/office/drawing/2014/main" id="{3AE00334-68A6-C744-F46D-7A04066AAE36}"/>
                </a:ext>
              </a:extLst>
            </p:cNvPr>
            <p:cNvGrpSpPr/>
            <p:nvPr/>
          </p:nvGrpSpPr>
          <p:grpSpPr>
            <a:xfrm>
              <a:off x="6532874" y="1913171"/>
              <a:ext cx="3580287" cy="541110"/>
              <a:chOff x="8008278" y="2677302"/>
              <a:chExt cx="3580287" cy="541110"/>
            </a:xfrm>
          </p:grpSpPr>
          <p:pic>
            <p:nvPicPr>
              <p:cNvPr id="23" name="Grafik 22">
                <a:extLst>
                  <a:ext uri="{FF2B5EF4-FFF2-40B4-BE49-F238E27FC236}">
                    <a16:creationId xmlns:a16="http://schemas.microsoft.com/office/drawing/2014/main" id="{E3E3E215-7EBE-60F9-507A-ACBD1926CFB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697591" y="2806767"/>
                <a:ext cx="381000" cy="342900"/>
              </a:xfrm>
              <a:prstGeom prst="rect">
                <a:avLst/>
              </a:prstGeom>
            </p:spPr>
          </p:pic>
          <p:sp>
            <p:nvSpPr>
              <p:cNvPr id="24" name="Rechteck: abgerundete Ecken 23">
                <a:extLst>
                  <a:ext uri="{FF2B5EF4-FFF2-40B4-BE49-F238E27FC236}">
                    <a16:creationId xmlns:a16="http://schemas.microsoft.com/office/drawing/2014/main" id="{39B1C569-F727-3EED-7A93-079FC8924B77}"/>
                  </a:ext>
                </a:extLst>
              </p:cNvPr>
              <p:cNvSpPr/>
              <p:nvPr/>
            </p:nvSpPr>
            <p:spPr>
              <a:xfrm>
                <a:off x="8008278" y="2677302"/>
                <a:ext cx="3580287" cy="541110"/>
              </a:xfrm>
              <a:prstGeom prst="roundRect">
                <a:avLst/>
              </a:prstGeom>
              <a:noFill/>
              <a:ln w="9525" cap="flat" cmpd="sng" algn="ctr">
                <a:solidFill>
                  <a:srgbClr val="0F6FC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Exchange Online</a:t>
                </a:r>
              </a:p>
            </p:txBody>
          </p:sp>
        </p:grpSp>
        <p:sp>
          <p:nvSpPr>
            <p:cNvPr id="22" name="Rechteck: abgerundete Ecken 21">
              <a:extLst>
                <a:ext uri="{FF2B5EF4-FFF2-40B4-BE49-F238E27FC236}">
                  <a16:creationId xmlns:a16="http://schemas.microsoft.com/office/drawing/2014/main" id="{9BE04BF0-4557-D33D-CA61-520723C2BE42}"/>
                </a:ext>
              </a:extLst>
            </p:cNvPr>
            <p:cNvSpPr/>
            <p:nvPr/>
          </p:nvSpPr>
          <p:spPr>
            <a:xfrm>
              <a:off x="10113161" y="1913171"/>
              <a:ext cx="1500582" cy="534912"/>
            </a:xfrm>
            <a:prstGeom prst="roundRect">
              <a:avLst/>
            </a:prstGeom>
            <a:noFill/>
            <a:ln w="9525" cap="flat" cmpd="sng" algn="ctr">
              <a:solidFill>
                <a:srgbClr val="0F6FC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Azure AD</a:t>
              </a:r>
            </a:p>
          </p:txBody>
        </p:sp>
      </p:grp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32A59AA6-50D7-7DDD-6D94-E20E0A6C194C}"/>
              </a:ext>
            </a:extLst>
          </p:cNvPr>
          <p:cNvCxnSpPr>
            <a:cxnSpLocks/>
          </p:cNvCxnSpPr>
          <p:nvPr/>
        </p:nvCxnSpPr>
        <p:spPr>
          <a:xfrm flipV="1">
            <a:off x="10776287" y="2433080"/>
            <a:ext cx="0" cy="2774836"/>
          </a:xfrm>
          <a:prstGeom prst="straightConnector1">
            <a:avLst/>
          </a:prstGeom>
          <a:noFill/>
          <a:ln w="38100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pic>
        <p:nvPicPr>
          <p:cNvPr id="26" name="Grafik 25" descr="Exchange Edge Transport Role">
            <a:extLst>
              <a:ext uri="{FF2B5EF4-FFF2-40B4-BE49-F238E27FC236}">
                <a16:creationId xmlns:a16="http://schemas.microsoft.com/office/drawing/2014/main" id="{20EB6CF4-401F-0658-E8F0-52761331B00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357062" y="3887340"/>
            <a:ext cx="771525" cy="752475"/>
          </a:xfrm>
          <a:prstGeom prst="rect">
            <a:avLst/>
          </a:prstGeom>
        </p:spPr>
      </p:pic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AEC6123A-B73C-1EEA-0AD0-8F202367834F}"/>
              </a:ext>
            </a:extLst>
          </p:cNvPr>
          <p:cNvCxnSpPr>
            <a:cxnSpLocks/>
          </p:cNvCxnSpPr>
          <p:nvPr/>
        </p:nvCxnSpPr>
        <p:spPr>
          <a:xfrm flipV="1">
            <a:off x="9554656" y="2433079"/>
            <a:ext cx="0" cy="1501617"/>
          </a:xfrm>
          <a:prstGeom prst="straightConnector1">
            <a:avLst/>
          </a:prstGeom>
          <a:noFill/>
          <a:ln w="38100" cap="flat" cmpd="sng" algn="ctr">
            <a:solidFill>
              <a:schemeClr val="accent2"/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29" name="Rechteck: abgerundete Ecken 28">
            <a:extLst>
              <a:ext uri="{FF2B5EF4-FFF2-40B4-BE49-F238E27FC236}">
                <a16:creationId xmlns:a16="http://schemas.microsoft.com/office/drawing/2014/main" id="{222CCB91-408B-1028-7552-97F79D1C9F3C}"/>
              </a:ext>
            </a:extLst>
          </p:cNvPr>
          <p:cNvSpPr/>
          <p:nvPr/>
        </p:nvSpPr>
        <p:spPr>
          <a:xfrm>
            <a:off x="6335226" y="5019503"/>
            <a:ext cx="5412035" cy="1536700"/>
          </a:xfrm>
          <a:prstGeom prst="roundRect">
            <a:avLst/>
          </a:prstGeom>
          <a:noFill/>
          <a:ln w="9525" cap="flat" cmpd="sng" algn="ctr">
            <a:solidFill>
              <a:srgbClr val="0F6FC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rtlCol="0" anchor="b"/>
          <a:lstStyle/>
          <a:p>
            <a:pPr marL="0" marR="0" lvl="0" indent="0" algn="ctr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mpany Network</a:t>
            </a: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48A1B5F7-6AD5-D0B4-9BB6-BC3CE280FA82}"/>
              </a:ext>
            </a:extLst>
          </p:cNvPr>
          <p:cNvCxnSpPr>
            <a:cxnSpLocks/>
          </p:cNvCxnSpPr>
          <p:nvPr/>
        </p:nvCxnSpPr>
        <p:spPr>
          <a:xfrm flipV="1">
            <a:off x="9561637" y="4582396"/>
            <a:ext cx="7748" cy="563879"/>
          </a:xfrm>
          <a:prstGeom prst="straightConnector1">
            <a:avLst/>
          </a:prstGeom>
          <a:noFill/>
          <a:ln w="38100" cap="flat" cmpd="sng" algn="ctr">
            <a:solidFill>
              <a:schemeClr val="accent2"/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7BA85358-5CCE-2401-F68D-59F4837B4C28}"/>
              </a:ext>
            </a:extLst>
          </p:cNvPr>
          <p:cNvCxnSpPr>
            <a:cxnSpLocks/>
          </p:cNvCxnSpPr>
          <p:nvPr/>
        </p:nvCxnSpPr>
        <p:spPr>
          <a:xfrm flipH="1" flipV="1">
            <a:off x="8950880" y="2433079"/>
            <a:ext cx="5805" cy="2713197"/>
          </a:xfrm>
          <a:prstGeom prst="straightConnector1">
            <a:avLst/>
          </a:prstGeom>
          <a:noFill/>
          <a:ln w="38100" cap="flat" cmpd="sng" algn="ctr">
            <a:solidFill>
              <a:schemeClr val="accent2"/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34" name="Textfeld 33">
            <a:extLst>
              <a:ext uri="{FF2B5EF4-FFF2-40B4-BE49-F238E27FC236}">
                <a16:creationId xmlns:a16="http://schemas.microsoft.com/office/drawing/2014/main" id="{380BAEF7-7CAB-255F-062D-E9356A3EF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 rot="16200000">
            <a:off x="8732872" y="2949949"/>
            <a:ext cx="1021556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-7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SMTP</a:t>
            </a:r>
          </a:p>
        </p:txBody>
      </p:sp>
      <p:pic>
        <p:nvPicPr>
          <p:cNvPr id="36" name="Grafik 35" descr="Marke 1">
            <a:extLst>
              <a:ext uri="{FF2B5EF4-FFF2-40B4-BE49-F238E27FC236}">
                <a16:creationId xmlns:a16="http://schemas.microsoft.com/office/drawing/2014/main" id="{16581D57-0996-A5EC-15FB-DE855F0E1AA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421202" y="2215970"/>
            <a:ext cx="261271" cy="261271"/>
          </a:xfrm>
          <a:prstGeom prst="rect">
            <a:avLst/>
          </a:prstGeom>
        </p:spPr>
      </p:pic>
      <p:pic>
        <p:nvPicPr>
          <p:cNvPr id="37" name="Grafik 36" descr="Abzeichen">
            <a:extLst>
              <a:ext uri="{FF2B5EF4-FFF2-40B4-BE49-F238E27FC236}">
                <a16:creationId xmlns:a16="http://schemas.microsoft.com/office/drawing/2014/main" id="{23CD07E6-3DB3-A32C-454A-F460181E5C40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817570" y="2214642"/>
            <a:ext cx="267168" cy="267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17963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000"/>
                            </p:stCondLst>
                            <p:childTnLst>
                              <p:par>
                                <p:cTn id="3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00"/>
                            </p:stCondLst>
                            <p:childTnLst>
                              <p:par>
                                <p:cTn id="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 animBg="1"/>
      <p:bldP spid="8" grpId="0" animBg="1"/>
      <p:bldP spid="14" grpId="0" animBg="1"/>
      <p:bldP spid="16" grpId="0" animBg="1"/>
      <p:bldP spid="29" grpId="0" animBg="1"/>
      <p:bldP spid="34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7B192B8-2FCC-4E38-041D-EED152EF43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assic Full Hybrid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BD588F2B-90D3-E5C9-F8B5-AFD44ED839A7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Autofit/>
          </a:bodyPr>
          <a:lstStyle/>
          <a:p>
            <a:r>
              <a:rPr lang="en-US" sz="2400" dirty="0"/>
              <a:t>Inbound HTTPS connection to </a:t>
            </a:r>
            <a:br>
              <a:rPr lang="en-US" sz="2400" dirty="0"/>
            </a:br>
            <a:r>
              <a:rPr lang="en-US" sz="2400" dirty="0"/>
              <a:t>Client Access Service </a:t>
            </a:r>
          </a:p>
          <a:p>
            <a:pPr lvl="1"/>
            <a:r>
              <a:rPr lang="en-US" sz="1800" dirty="0"/>
              <a:t>Internal Exchange Servers published </a:t>
            </a:r>
            <a:br>
              <a:rPr lang="en-US" sz="1800" dirty="0"/>
            </a:br>
            <a:r>
              <a:rPr lang="en-US" sz="1800" dirty="0"/>
              <a:t>by a reverse proxy system</a:t>
            </a:r>
          </a:p>
          <a:p>
            <a:pPr lvl="1"/>
            <a:r>
              <a:rPr lang="en-US" sz="1800" dirty="0"/>
              <a:t>Requires additional public IP address</a:t>
            </a:r>
          </a:p>
          <a:p>
            <a:r>
              <a:rPr lang="en-US" sz="2400" dirty="0"/>
              <a:t>Outbound HTTPS connections to Exchange Online</a:t>
            </a:r>
          </a:p>
          <a:p>
            <a:pPr lvl="1"/>
            <a:r>
              <a:rPr lang="en-US" sz="1800" dirty="0"/>
              <a:t>Exchange Server communication to </a:t>
            </a:r>
            <a:br>
              <a:rPr lang="en-US" sz="1800" dirty="0"/>
            </a:br>
            <a:r>
              <a:rPr lang="en-US" sz="1800" dirty="0"/>
              <a:t>Exchange Online</a:t>
            </a:r>
          </a:p>
          <a:p>
            <a:endParaRPr lang="en-US" sz="2400" dirty="0"/>
          </a:p>
        </p:txBody>
      </p:sp>
      <p:sp>
        <p:nvSpPr>
          <p:cNvPr id="8" name="Rectangle 727">
            <a:extLst>
              <a:ext uri="{FF2B5EF4-FFF2-40B4-BE49-F238E27FC236}">
                <a16:creationId xmlns:a16="http://schemas.microsoft.com/office/drawing/2014/main" id="{0585D25F-3787-5B9B-E224-10F5AD468CF7}"/>
              </a:ext>
            </a:extLst>
          </p:cNvPr>
          <p:cNvSpPr/>
          <p:nvPr/>
        </p:nvSpPr>
        <p:spPr bwMode="auto">
          <a:xfrm>
            <a:off x="5662557" y="327896"/>
            <a:ext cx="6474028" cy="645080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1397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grpSp>
        <p:nvGrpSpPr>
          <p:cNvPr id="9" name="Gruppieren 8" descr="On-Premises Exchange Organisasation">
            <a:extLst>
              <a:ext uri="{FF2B5EF4-FFF2-40B4-BE49-F238E27FC236}">
                <a16:creationId xmlns:a16="http://schemas.microsoft.com/office/drawing/2014/main" id="{534E09AB-311F-BD4F-9993-96CF1263C9FD}"/>
              </a:ext>
            </a:extLst>
          </p:cNvPr>
          <p:cNvGrpSpPr/>
          <p:nvPr/>
        </p:nvGrpSpPr>
        <p:grpSpPr>
          <a:xfrm>
            <a:off x="6477458" y="5146275"/>
            <a:ext cx="3762869" cy="1099821"/>
            <a:chOff x="6532873" y="5161279"/>
            <a:chExt cx="3762869" cy="1099821"/>
          </a:xfrm>
        </p:grpSpPr>
        <p:pic>
          <p:nvPicPr>
            <p:cNvPr id="10" name="Grafik 9" descr="Exchange Server 2019">
              <a:extLst>
                <a:ext uri="{FF2B5EF4-FFF2-40B4-BE49-F238E27FC236}">
                  <a16:creationId xmlns:a16="http://schemas.microsoft.com/office/drawing/2014/main" id="{F4F80304-9D07-1FC5-C674-795491E70CE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022646" y="5237208"/>
              <a:ext cx="771525" cy="752475"/>
            </a:xfrm>
            <a:prstGeom prst="rect">
              <a:avLst/>
            </a:prstGeom>
          </p:spPr>
        </p:pic>
        <p:pic>
          <p:nvPicPr>
            <p:cNvPr id="11" name="Grafik 10" descr="Exchange Server 2016">
              <a:extLst>
                <a:ext uri="{FF2B5EF4-FFF2-40B4-BE49-F238E27FC236}">
                  <a16:creationId xmlns:a16="http://schemas.microsoft.com/office/drawing/2014/main" id="{AEBE86D7-B183-72E5-4BDC-881B6408FB8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196670" y="5222920"/>
              <a:ext cx="809625" cy="781050"/>
            </a:xfrm>
            <a:prstGeom prst="rect">
              <a:avLst/>
            </a:prstGeom>
          </p:spPr>
        </p:pic>
        <p:pic>
          <p:nvPicPr>
            <p:cNvPr id="12" name="Grafik 11" descr="Exchange Server 2013">
              <a:extLst>
                <a:ext uri="{FF2B5EF4-FFF2-40B4-BE49-F238E27FC236}">
                  <a16:creationId xmlns:a16="http://schemas.microsoft.com/office/drawing/2014/main" id="{171BEDCC-A035-A5D1-0D8F-5DD322DC8E8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408794" y="5237208"/>
              <a:ext cx="809625" cy="781050"/>
            </a:xfrm>
            <a:prstGeom prst="rect">
              <a:avLst/>
            </a:prstGeom>
          </p:spPr>
        </p:pic>
        <p:sp>
          <p:nvSpPr>
            <p:cNvPr id="13" name="Rechteck: abgerundete Ecken 12">
              <a:extLst>
                <a:ext uri="{FF2B5EF4-FFF2-40B4-BE49-F238E27FC236}">
                  <a16:creationId xmlns:a16="http://schemas.microsoft.com/office/drawing/2014/main" id="{E92BE129-CF31-6BC9-9B3E-47EAC11D2D87}"/>
                </a:ext>
              </a:extLst>
            </p:cNvPr>
            <p:cNvSpPr/>
            <p:nvPr/>
          </p:nvSpPr>
          <p:spPr>
            <a:xfrm>
              <a:off x="6532873" y="5161279"/>
              <a:ext cx="3762869" cy="1099821"/>
            </a:xfrm>
            <a:prstGeom prst="roundRect">
              <a:avLst/>
            </a:prstGeom>
            <a:noFill/>
            <a:ln w="9525" cap="flat" cmpd="sng" algn="ctr">
              <a:solidFill>
                <a:srgbClr val="0F6FC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b"/>
            <a:lstStyle/>
            <a:p>
              <a:pPr marL="0" marR="0" lvl="0" indent="0" defTabSz="914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On-Premises Exchange Organization</a:t>
              </a:r>
            </a:p>
          </p:txBody>
        </p:sp>
      </p:grpSp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4EE8C338-507E-19DF-3C89-4E6737A8EBF0}"/>
              </a:ext>
            </a:extLst>
          </p:cNvPr>
          <p:cNvSpPr/>
          <p:nvPr/>
        </p:nvSpPr>
        <p:spPr>
          <a:xfrm>
            <a:off x="5756105" y="1681717"/>
            <a:ext cx="6316321" cy="5034820"/>
          </a:xfrm>
          <a:prstGeom prst="roundRect">
            <a:avLst/>
          </a:prstGeom>
          <a:noFill/>
          <a:ln w="28575" cap="flat" cmpd="sng" algn="ctr">
            <a:solidFill>
              <a:schemeClr val="accent3"/>
            </a:solidFill>
            <a:prstDash val="sysDot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4485841"/>
                      <a:gd name="connsiteY0" fmla="*/ 702837 h 4216935"/>
                      <a:gd name="connsiteX1" fmla="*/ 702837 w 4485841"/>
                      <a:gd name="connsiteY1" fmla="*/ 0 h 4216935"/>
                      <a:gd name="connsiteX2" fmla="*/ 1277802 w 4485841"/>
                      <a:gd name="connsiteY2" fmla="*/ 0 h 4216935"/>
                      <a:gd name="connsiteX3" fmla="*/ 1760361 w 4485841"/>
                      <a:gd name="connsiteY3" fmla="*/ 0 h 4216935"/>
                      <a:gd name="connsiteX4" fmla="*/ 2212119 w 4485841"/>
                      <a:gd name="connsiteY4" fmla="*/ 0 h 4216935"/>
                      <a:gd name="connsiteX5" fmla="*/ 2756282 w 4485841"/>
                      <a:gd name="connsiteY5" fmla="*/ 0 h 4216935"/>
                      <a:gd name="connsiteX6" fmla="*/ 3238841 w 4485841"/>
                      <a:gd name="connsiteY6" fmla="*/ 0 h 4216935"/>
                      <a:gd name="connsiteX7" fmla="*/ 3783004 w 4485841"/>
                      <a:gd name="connsiteY7" fmla="*/ 0 h 4216935"/>
                      <a:gd name="connsiteX8" fmla="*/ 4485841 w 4485841"/>
                      <a:gd name="connsiteY8" fmla="*/ 702837 h 4216935"/>
                      <a:gd name="connsiteX9" fmla="*/ 4485841 w 4485841"/>
                      <a:gd name="connsiteY9" fmla="*/ 1208864 h 4216935"/>
                      <a:gd name="connsiteX10" fmla="*/ 4485841 w 4485841"/>
                      <a:gd name="connsiteY10" fmla="*/ 1771116 h 4216935"/>
                      <a:gd name="connsiteX11" fmla="*/ 4485841 w 4485841"/>
                      <a:gd name="connsiteY11" fmla="*/ 2333368 h 4216935"/>
                      <a:gd name="connsiteX12" fmla="*/ 4485841 w 4485841"/>
                      <a:gd name="connsiteY12" fmla="*/ 2867508 h 4216935"/>
                      <a:gd name="connsiteX13" fmla="*/ 4485841 w 4485841"/>
                      <a:gd name="connsiteY13" fmla="*/ 3514098 h 4216935"/>
                      <a:gd name="connsiteX14" fmla="*/ 3783004 w 4485841"/>
                      <a:gd name="connsiteY14" fmla="*/ 4216935 h 4216935"/>
                      <a:gd name="connsiteX15" fmla="*/ 3269643 w 4485841"/>
                      <a:gd name="connsiteY15" fmla="*/ 4216935 h 4216935"/>
                      <a:gd name="connsiteX16" fmla="*/ 2694678 w 4485841"/>
                      <a:gd name="connsiteY16" fmla="*/ 4216935 h 4216935"/>
                      <a:gd name="connsiteX17" fmla="*/ 2181317 w 4485841"/>
                      <a:gd name="connsiteY17" fmla="*/ 4216935 h 4216935"/>
                      <a:gd name="connsiteX18" fmla="*/ 1760361 w 4485841"/>
                      <a:gd name="connsiteY18" fmla="*/ 4216935 h 4216935"/>
                      <a:gd name="connsiteX19" fmla="*/ 1308603 w 4485841"/>
                      <a:gd name="connsiteY19" fmla="*/ 4216935 h 4216935"/>
                      <a:gd name="connsiteX20" fmla="*/ 702837 w 4485841"/>
                      <a:gd name="connsiteY20" fmla="*/ 4216935 h 4216935"/>
                      <a:gd name="connsiteX21" fmla="*/ 0 w 4485841"/>
                      <a:gd name="connsiteY21" fmla="*/ 3514098 h 4216935"/>
                      <a:gd name="connsiteX22" fmla="*/ 0 w 4485841"/>
                      <a:gd name="connsiteY22" fmla="*/ 3008071 h 4216935"/>
                      <a:gd name="connsiteX23" fmla="*/ 0 w 4485841"/>
                      <a:gd name="connsiteY23" fmla="*/ 2530157 h 4216935"/>
                      <a:gd name="connsiteX24" fmla="*/ 0 w 4485841"/>
                      <a:gd name="connsiteY24" fmla="*/ 2052242 h 4216935"/>
                      <a:gd name="connsiteX25" fmla="*/ 0 w 4485841"/>
                      <a:gd name="connsiteY25" fmla="*/ 1489990 h 4216935"/>
                      <a:gd name="connsiteX26" fmla="*/ 0 w 4485841"/>
                      <a:gd name="connsiteY26" fmla="*/ 702837 h 421693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</a:cxnLst>
                    <a:rect l="l" t="t" r="r" b="b"/>
                    <a:pathLst>
                      <a:path w="4485841" h="4216935" extrusionOk="0">
                        <a:moveTo>
                          <a:pt x="0" y="702837"/>
                        </a:moveTo>
                        <a:cubicBezTo>
                          <a:pt x="-96001" y="255455"/>
                          <a:pt x="266772" y="17977"/>
                          <a:pt x="702837" y="0"/>
                        </a:cubicBezTo>
                        <a:cubicBezTo>
                          <a:pt x="897927" y="-58606"/>
                          <a:pt x="1107915" y="48592"/>
                          <a:pt x="1277802" y="0"/>
                        </a:cubicBezTo>
                        <a:cubicBezTo>
                          <a:pt x="1447689" y="-48592"/>
                          <a:pt x="1653487" y="7522"/>
                          <a:pt x="1760361" y="0"/>
                        </a:cubicBezTo>
                        <a:cubicBezTo>
                          <a:pt x="1867235" y="-7522"/>
                          <a:pt x="2104838" y="34438"/>
                          <a:pt x="2212119" y="0"/>
                        </a:cubicBezTo>
                        <a:cubicBezTo>
                          <a:pt x="2319400" y="-34438"/>
                          <a:pt x="2502317" y="44956"/>
                          <a:pt x="2756282" y="0"/>
                        </a:cubicBezTo>
                        <a:cubicBezTo>
                          <a:pt x="3010247" y="-44956"/>
                          <a:pt x="3040101" y="36333"/>
                          <a:pt x="3238841" y="0"/>
                        </a:cubicBezTo>
                        <a:cubicBezTo>
                          <a:pt x="3437581" y="-36333"/>
                          <a:pt x="3594978" y="62382"/>
                          <a:pt x="3783004" y="0"/>
                        </a:cubicBezTo>
                        <a:cubicBezTo>
                          <a:pt x="4162388" y="-83747"/>
                          <a:pt x="4466563" y="341463"/>
                          <a:pt x="4485841" y="702837"/>
                        </a:cubicBezTo>
                        <a:cubicBezTo>
                          <a:pt x="4533611" y="845302"/>
                          <a:pt x="4432755" y="1103243"/>
                          <a:pt x="4485841" y="1208864"/>
                        </a:cubicBezTo>
                        <a:cubicBezTo>
                          <a:pt x="4538927" y="1314485"/>
                          <a:pt x="4477789" y="1649172"/>
                          <a:pt x="4485841" y="1771116"/>
                        </a:cubicBezTo>
                        <a:cubicBezTo>
                          <a:pt x="4493893" y="1893060"/>
                          <a:pt x="4450271" y="2184675"/>
                          <a:pt x="4485841" y="2333368"/>
                        </a:cubicBezTo>
                        <a:cubicBezTo>
                          <a:pt x="4521411" y="2482061"/>
                          <a:pt x="4447469" y="2629944"/>
                          <a:pt x="4485841" y="2867508"/>
                        </a:cubicBezTo>
                        <a:cubicBezTo>
                          <a:pt x="4524213" y="3105072"/>
                          <a:pt x="4446409" y="3313430"/>
                          <a:pt x="4485841" y="3514098"/>
                        </a:cubicBezTo>
                        <a:cubicBezTo>
                          <a:pt x="4496330" y="3889242"/>
                          <a:pt x="4109219" y="4192986"/>
                          <a:pt x="3783004" y="4216935"/>
                        </a:cubicBezTo>
                        <a:cubicBezTo>
                          <a:pt x="3664904" y="4222734"/>
                          <a:pt x="3373884" y="4216849"/>
                          <a:pt x="3269643" y="4216935"/>
                        </a:cubicBezTo>
                        <a:cubicBezTo>
                          <a:pt x="3165402" y="4217021"/>
                          <a:pt x="2980315" y="4168994"/>
                          <a:pt x="2694678" y="4216935"/>
                        </a:cubicBezTo>
                        <a:cubicBezTo>
                          <a:pt x="2409042" y="4264876"/>
                          <a:pt x="2340730" y="4173799"/>
                          <a:pt x="2181317" y="4216935"/>
                        </a:cubicBezTo>
                        <a:cubicBezTo>
                          <a:pt x="2021904" y="4260071"/>
                          <a:pt x="1900773" y="4195431"/>
                          <a:pt x="1760361" y="4216935"/>
                        </a:cubicBezTo>
                        <a:cubicBezTo>
                          <a:pt x="1619949" y="4238439"/>
                          <a:pt x="1424486" y="4194196"/>
                          <a:pt x="1308603" y="4216935"/>
                        </a:cubicBezTo>
                        <a:cubicBezTo>
                          <a:pt x="1192720" y="4239674"/>
                          <a:pt x="936750" y="4153641"/>
                          <a:pt x="702837" y="4216935"/>
                        </a:cubicBezTo>
                        <a:cubicBezTo>
                          <a:pt x="324586" y="4214837"/>
                          <a:pt x="1771" y="3919084"/>
                          <a:pt x="0" y="3514098"/>
                        </a:cubicBezTo>
                        <a:cubicBezTo>
                          <a:pt x="-48940" y="3262440"/>
                          <a:pt x="41589" y="3238493"/>
                          <a:pt x="0" y="3008071"/>
                        </a:cubicBezTo>
                        <a:cubicBezTo>
                          <a:pt x="-41589" y="2777649"/>
                          <a:pt x="38803" y="2670079"/>
                          <a:pt x="0" y="2530157"/>
                        </a:cubicBezTo>
                        <a:cubicBezTo>
                          <a:pt x="-38803" y="2390235"/>
                          <a:pt x="14977" y="2164964"/>
                          <a:pt x="0" y="2052242"/>
                        </a:cubicBezTo>
                        <a:cubicBezTo>
                          <a:pt x="-14977" y="1939520"/>
                          <a:pt x="45063" y="1624621"/>
                          <a:pt x="0" y="1489990"/>
                        </a:cubicBezTo>
                        <a:cubicBezTo>
                          <a:pt x="-45063" y="1355359"/>
                          <a:pt x="91104" y="939259"/>
                          <a:pt x="0" y="702837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vert="vert270" rtlCol="0" anchor="t"/>
          <a:lstStyle/>
          <a:p>
            <a:pPr marL="0" marR="0" lvl="0" indent="0" algn="ctr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Hybrid Configuration</a:t>
            </a:r>
          </a:p>
          <a:p>
            <a:pPr marL="0" marR="0" lvl="0" indent="0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5" name="Grafik 14" descr="AAD Connect Server">
            <a:extLst>
              <a:ext uri="{FF2B5EF4-FFF2-40B4-BE49-F238E27FC236}">
                <a16:creationId xmlns:a16="http://schemas.microsoft.com/office/drawing/2014/main" id="{C9D81431-3131-F33A-B28B-98C8A240A8C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552803" y="5207916"/>
            <a:ext cx="685800" cy="800100"/>
          </a:xfrm>
          <a:prstGeom prst="rect">
            <a:avLst/>
          </a:prstGeom>
        </p:spPr>
      </p:pic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3546A314-7AA4-D342-C9AE-BD48AD04D691}"/>
              </a:ext>
            </a:extLst>
          </p:cNvPr>
          <p:cNvSpPr/>
          <p:nvPr/>
        </p:nvSpPr>
        <p:spPr>
          <a:xfrm>
            <a:off x="6335226" y="3610982"/>
            <a:ext cx="5412035" cy="1398276"/>
          </a:xfrm>
          <a:prstGeom prst="roundRect">
            <a:avLst/>
          </a:prstGeom>
          <a:noFill/>
          <a:ln w="9525" cap="flat" cmpd="sng" algn="ctr">
            <a:solidFill>
              <a:srgbClr val="0F6FC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rtlCol="0" anchor="b"/>
          <a:lstStyle/>
          <a:p>
            <a:pPr marL="0" marR="0" lvl="0" indent="0" algn="ctr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erimeter Network</a:t>
            </a:r>
          </a:p>
        </p:txBody>
      </p:sp>
      <p:pic>
        <p:nvPicPr>
          <p:cNvPr id="17" name="Grafik 16" descr="Reverse Proxy">
            <a:extLst>
              <a:ext uri="{FF2B5EF4-FFF2-40B4-BE49-F238E27FC236}">
                <a16:creationId xmlns:a16="http://schemas.microsoft.com/office/drawing/2014/main" id="{5D72CA47-10DC-9FBD-2419-6FEEED64458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41255" y="3887340"/>
            <a:ext cx="609600" cy="752475"/>
          </a:xfrm>
          <a:prstGeom prst="rect">
            <a:avLst/>
          </a:prstGeom>
        </p:spPr>
      </p:pic>
      <p:grpSp>
        <p:nvGrpSpPr>
          <p:cNvPr id="18" name="Gruppieren 17" descr="Microsoft 365 with Exchange Online and Azure AD">
            <a:extLst>
              <a:ext uri="{FF2B5EF4-FFF2-40B4-BE49-F238E27FC236}">
                <a16:creationId xmlns:a16="http://schemas.microsoft.com/office/drawing/2014/main" id="{49077CD9-2CB9-DD0E-F70A-78EA5B2A8A28}"/>
              </a:ext>
            </a:extLst>
          </p:cNvPr>
          <p:cNvGrpSpPr/>
          <p:nvPr/>
        </p:nvGrpSpPr>
        <p:grpSpPr>
          <a:xfrm>
            <a:off x="6335226" y="440671"/>
            <a:ext cx="5737200" cy="2085504"/>
            <a:chOff x="6390641" y="455675"/>
            <a:chExt cx="5737200" cy="2085504"/>
          </a:xfrm>
        </p:grpSpPr>
        <p:sp>
          <p:nvSpPr>
            <p:cNvPr id="19" name="Rechteck: abgerundete Ecken 18">
              <a:extLst>
                <a:ext uri="{FF2B5EF4-FFF2-40B4-BE49-F238E27FC236}">
                  <a16:creationId xmlns:a16="http://schemas.microsoft.com/office/drawing/2014/main" id="{07252943-B268-CC13-837B-CA8181616504}"/>
                </a:ext>
              </a:extLst>
            </p:cNvPr>
            <p:cNvSpPr/>
            <p:nvPr/>
          </p:nvSpPr>
          <p:spPr>
            <a:xfrm>
              <a:off x="6390641" y="1104265"/>
              <a:ext cx="5412035" cy="1436914"/>
            </a:xfrm>
            <a:prstGeom prst="roundRect">
              <a:avLst/>
            </a:prstGeom>
            <a:noFill/>
            <a:ln w="9525" cap="flat" cmpd="sng" algn="ctr">
              <a:solidFill>
                <a:srgbClr val="0F6FC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t"/>
            <a:lstStyle/>
            <a:p>
              <a:pPr marL="0" marR="0" lvl="0" indent="0" defTabSz="914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Microsoft 365</a:t>
              </a:r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691B3EE7-3FA8-1C28-2D68-C51B74B2D75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485594" y="455675"/>
              <a:ext cx="1642247" cy="1026404"/>
            </a:xfrm>
            <a:prstGeom prst="rect">
              <a:avLst/>
            </a:prstGeom>
          </p:spPr>
        </p:pic>
        <p:grpSp>
          <p:nvGrpSpPr>
            <p:cNvPr id="21" name="Gruppieren 20">
              <a:extLst>
                <a:ext uri="{FF2B5EF4-FFF2-40B4-BE49-F238E27FC236}">
                  <a16:creationId xmlns:a16="http://schemas.microsoft.com/office/drawing/2014/main" id="{3AE00334-68A6-C744-F46D-7A04066AAE36}"/>
                </a:ext>
              </a:extLst>
            </p:cNvPr>
            <p:cNvGrpSpPr/>
            <p:nvPr/>
          </p:nvGrpSpPr>
          <p:grpSpPr>
            <a:xfrm>
              <a:off x="6532874" y="1913171"/>
              <a:ext cx="3580287" cy="541110"/>
              <a:chOff x="8008278" y="2677302"/>
              <a:chExt cx="3580287" cy="541110"/>
            </a:xfrm>
          </p:grpSpPr>
          <p:pic>
            <p:nvPicPr>
              <p:cNvPr id="23" name="Grafik 22">
                <a:extLst>
                  <a:ext uri="{FF2B5EF4-FFF2-40B4-BE49-F238E27FC236}">
                    <a16:creationId xmlns:a16="http://schemas.microsoft.com/office/drawing/2014/main" id="{E3E3E215-7EBE-60F9-507A-ACBD1926CFB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8697591" y="2806767"/>
                <a:ext cx="381000" cy="342900"/>
              </a:xfrm>
              <a:prstGeom prst="rect">
                <a:avLst/>
              </a:prstGeom>
            </p:spPr>
          </p:pic>
          <p:sp>
            <p:nvSpPr>
              <p:cNvPr id="24" name="Rechteck: abgerundete Ecken 23">
                <a:extLst>
                  <a:ext uri="{FF2B5EF4-FFF2-40B4-BE49-F238E27FC236}">
                    <a16:creationId xmlns:a16="http://schemas.microsoft.com/office/drawing/2014/main" id="{39B1C569-F727-3EED-7A93-079FC8924B77}"/>
                  </a:ext>
                </a:extLst>
              </p:cNvPr>
              <p:cNvSpPr/>
              <p:nvPr/>
            </p:nvSpPr>
            <p:spPr>
              <a:xfrm>
                <a:off x="8008278" y="2677302"/>
                <a:ext cx="3580287" cy="541110"/>
              </a:xfrm>
              <a:prstGeom prst="roundRect">
                <a:avLst/>
              </a:prstGeom>
              <a:noFill/>
              <a:ln w="9525" cap="flat" cmpd="sng" algn="ctr">
                <a:solidFill>
                  <a:srgbClr val="0F6FC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Exchange Online</a:t>
                </a:r>
              </a:p>
            </p:txBody>
          </p:sp>
        </p:grpSp>
        <p:sp>
          <p:nvSpPr>
            <p:cNvPr id="22" name="Rechteck: abgerundete Ecken 21">
              <a:extLst>
                <a:ext uri="{FF2B5EF4-FFF2-40B4-BE49-F238E27FC236}">
                  <a16:creationId xmlns:a16="http://schemas.microsoft.com/office/drawing/2014/main" id="{9BE04BF0-4557-D33D-CA61-520723C2BE42}"/>
                </a:ext>
              </a:extLst>
            </p:cNvPr>
            <p:cNvSpPr/>
            <p:nvPr/>
          </p:nvSpPr>
          <p:spPr>
            <a:xfrm>
              <a:off x="10113161" y="1913171"/>
              <a:ext cx="1500582" cy="534912"/>
            </a:xfrm>
            <a:prstGeom prst="roundRect">
              <a:avLst/>
            </a:prstGeom>
            <a:noFill/>
            <a:ln w="9525" cap="flat" cmpd="sng" algn="ctr">
              <a:solidFill>
                <a:srgbClr val="0F6FC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Azure AD</a:t>
              </a:r>
            </a:p>
          </p:txBody>
        </p:sp>
      </p:grp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32A59AA6-50D7-7DDD-6D94-E20E0A6C194C}"/>
              </a:ext>
            </a:extLst>
          </p:cNvPr>
          <p:cNvCxnSpPr>
            <a:cxnSpLocks/>
          </p:cNvCxnSpPr>
          <p:nvPr/>
        </p:nvCxnSpPr>
        <p:spPr>
          <a:xfrm flipV="1">
            <a:off x="10776287" y="2433080"/>
            <a:ext cx="0" cy="2774836"/>
          </a:xfrm>
          <a:prstGeom prst="straightConnector1">
            <a:avLst/>
          </a:prstGeom>
          <a:noFill/>
          <a:ln w="38100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pic>
        <p:nvPicPr>
          <p:cNvPr id="26" name="Grafik 25" descr="Exchange Edge Transport Role">
            <a:extLst>
              <a:ext uri="{FF2B5EF4-FFF2-40B4-BE49-F238E27FC236}">
                <a16:creationId xmlns:a16="http://schemas.microsoft.com/office/drawing/2014/main" id="{20EB6CF4-401F-0658-E8F0-52761331B00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357062" y="3887340"/>
            <a:ext cx="771525" cy="752475"/>
          </a:xfrm>
          <a:prstGeom prst="rect">
            <a:avLst/>
          </a:prstGeom>
        </p:spPr>
      </p:pic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AEC6123A-B73C-1EEA-0AD0-8F202367834F}"/>
              </a:ext>
            </a:extLst>
          </p:cNvPr>
          <p:cNvCxnSpPr>
            <a:cxnSpLocks/>
          </p:cNvCxnSpPr>
          <p:nvPr/>
        </p:nvCxnSpPr>
        <p:spPr>
          <a:xfrm flipV="1">
            <a:off x="9554656" y="2433079"/>
            <a:ext cx="0" cy="1501617"/>
          </a:xfrm>
          <a:prstGeom prst="straightConnector1">
            <a:avLst/>
          </a:prstGeom>
          <a:noFill/>
          <a:ln w="38100" cap="flat" cmpd="sng" algn="ctr">
            <a:solidFill>
              <a:schemeClr val="accent2"/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BF9B2FA2-AA34-BDE4-2E45-D14CDBAA0DC6}"/>
              </a:ext>
            </a:extLst>
          </p:cNvPr>
          <p:cNvCxnSpPr>
            <a:cxnSpLocks/>
          </p:cNvCxnSpPr>
          <p:nvPr/>
        </p:nvCxnSpPr>
        <p:spPr>
          <a:xfrm flipV="1">
            <a:off x="8350587" y="2433079"/>
            <a:ext cx="0" cy="1501617"/>
          </a:xfrm>
          <a:prstGeom prst="straightConnector1">
            <a:avLst/>
          </a:prstGeom>
          <a:noFill/>
          <a:ln w="38100" cap="flat" cmpd="sng" algn="ctr">
            <a:solidFill>
              <a:schemeClr val="accent5"/>
            </a:solidFill>
            <a:prstDash val="solid"/>
            <a:round/>
            <a:headEnd type="arrow" w="med" len="med"/>
            <a:tailEnd type="none" w="med" len="med"/>
          </a:ln>
          <a:effectLst/>
        </p:spPr>
      </p:cxnSp>
      <p:sp>
        <p:nvSpPr>
          <p:cNvPr id="29" name="Rechteck: abgerundete Ecken 28">
            <a:extLst>
              <a:ext uri="{FF2B5EF4-FFF2-40B4-BE49-F238E27FC236}">
                <a16:creationId xmlns:a16="http://schemas.microsoft.com/office/drawing/2014/main" id="{222CCB91-408B-1028-7552-97F79D1C9F3C}"/>
              </a:ext>
            </a:extLst>
          </p:cNvPr>
          <p:cNvSpPr/>
          <p:nvPr/>
        </p:nvSpPr>
        <p:spPr>
          <a:xfrm>
            <a:off x="6335226" y="5019503"/>
            <a:ext cx="5412035" cy="1536700"/>
          </a:xfrm>
          <a:prstGeom prst="roundRect">
            <a:avLst/>
          </a:prstGeom>
          <a:noFill/>
          <a:ln w="9525" cap="flat" cmpd="sng" algn="ctr">
            <a:solidFill>
              <a:srgbClr val="0F6FC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rtlCol="0" anchor="b"/>
          <a:lstStyle/>
          <a:p>
            <a:pPr marL="0" marR="0" lvl="0" indent="0" algn="ctr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mpany Network</a:t>
            </a:r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88BCB5E5-3E22-0D4B-2D33-BD38AB8BC3F5}"/>
              </a:ext>
            </a:extLst>
          </p:cNvPr>
          <p:cNvCxnSpPr>
            <a:cxnSpLocks/>
          </p:cNvCxnSpPr>
          <p:nvPr/>
        </p:nvCxnSpPr>
        <p:spPr>
          <a:xfrm flipV="1">
            <a:off x="8356775" y="4639815"/>
            <a:ext cx="1" cy="506460"/>
          </a:xfrm>
          <a:prstGeom prst="straightConnector1">
            <a:avLst/>
          </a:prstGeom>
          <a:noFill/>
          <a:ln w="38100" cap="flat" cmpd="sng" algn="ctr">
            <a:solidFill>
              <a:schemeClr val="accent5"/>
            </a:solidFill>
            <a:prstDash val="solid"/>
            <a:round/>
            <a:headEnd type="arrow" w="med" len="med"/>
            <a:tailEnd type="none" w="med" len="med"/>
          </a:ln>
          <a:effectLst/>
        </p:spPr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48A1B5F7-6AD5-D0B4-9BB6-BC3CE280FA82}"/>
              </a:ext>
            </a:extLst>
          </p:cNvPr>
          <p:cNvCxnSpPr>
            <a:cxnSpLocks/>
          </p:cNvCxnSpPr>
          <p:nvPr/>
        </p:nvCxnSpPr>
        <p:spPr>
          <a:xfrm flipV="1">
            <a:off x="9561637" y="4582396"/>
            <a:ext cx="7748" cy="563879"/>
          </a:xfrm>
          <a:prstGeom prst="straightConnector1">
            <a:avLst/>
          </a:prstGeom>
          <a:noFill/>
          <a:ln w="38100" cap="flat" cmpd="sng" algn="ctr">
            <a:solidFill>
              <a:schemeClr val="accent2"/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7BA85358-5CCE-2401-F68D-59F4837B4C28}"/>
              </a:ext>
            </a:extLst>
          </p:cNvPr>
          <p:cNvCxnSpPr>
            <a:cxnSpLocks/>
          </p:cNvCxnSpPr>
          <p:nvPr/>
        </p:nvCxnSpPr>
        <p:spPr>
          <a:xfrm flipH="1" flipV="1">
            <a:off x="8950880" y="2433079"/>
            <a:ext cx="5805" cy="2713197"/>
          </a:xfrm>
          <a:prstGeom prst="straightConnector1">
            <a:avLst/>
          </a:prstGeom>
          <a:noFill/>
          <a:ln w="38100" cap="flat" cmpd="sng" algn="ctr">
            <a:solidFill>
              <a:schemeClr val="accent2"/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4C71CF56-DE6D-BF1C-8BEC-9628E2FAA03B}"/>
              </a:ext>
            </a:extLst>
          </p:cNvPr>
          <p:cNvCxnSpPr>
            <a:cxnSpLocks/>
          </p:cNvCxnSpPr>
          <p:nvPr/>
        </p:nvCxnSpPr>
        <p:spPr>
          <a:xfrm flipH="1" flipV="1">
            <a:off x="7737565" y="2449522"/>
            <a:ext cx="5805" cy="2713197"/>
          </a:xfrm>
          <a:prstGeom prst="straightConnector1">
            <a:avLst/>
          </a:prstGeom>
          <a:noFill/>
          <a:ln w="38100" cap="flat" cmpd="sng" algn="ctr">
            <a:solidFill>
              <a:schemeClr val="accent5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4" name="Textfeld 33">
            <a:extLst>
              <a:ext uri="{FF2B5EF4-FFF2-40B4-BE49-F238E27FC236}">
                <a16:creationId xmlns:a16="http://schemas.microsoft.com/office/drawing/2014/main" id="{380BAEF7-7CAB-255F-062D-E9356A3EF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 rot="16200000">
            <a:off x="8732872" y="2949949"/>
            <a:ext cx="1021556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-7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SMTP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14B2EA16-3EF0-B239-8A91-98654B5C8D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 rot="16200000">
            <a:off x="7553303" y="2930317"/>
            <a:ext cx="1021556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-7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</a:rPr>
              <a:t>HTTPS</a:t>
            </a:r>
          </a:p>
        </p:txBody>
      </p:sp>
      <p:pic>
        <p:nvPicPr>
          <p:cNvPr id="36" name="Grafik 35" descr="Marke 1">
            <a:extLst>
              <a:ext uri="{FF2B5EF4-FFF2-40B4-BE49-F238E27FC236}">
                <a16:creationId xmlns:a16="http://schemas.microsoft.com/office/drawing/2014/main" id="{16581D57-0996-A5EC-15FB-DE855F0E1AA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421202" y="2215970"/>
            <a:ext cx="261271" cy="261271"/>
          </a:xfrm>
          <a:prstGeom prst="rect">
            <a:avLst/>
          </a:prstGeom>
        </p:spPr>
      </p:pic>
      <p:pic>
        <p:nvPicPr>
          <p:cNvPr id="37" name="Grafik 36" descr="Abzeichen">
            <a:extLst>
              <a:ext uri="{FF2B5EF4-FFF2-40B4-BE49-F238E27FC236}">
                <a16:creationId xmlns:a16="http://schemas.microsoft.com/office/drawing/2014/main" id="{23CD07E6-3DB3-A32C-454A-F460181E5C40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817570" y="2214642"/>
            <a:ext cx="267168" cy="267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4111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00"/>
                            </p:stCondLst>
                            <p:childTnLst>
                              <p:par>
                                <p:cTn id="3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  <p:bldP spid="35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AEC24E-0D77-83BA-413F-72A4AD782C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rn Full Hybrid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30B2CA8-CCEA-8CB9-2874-A55784F305A0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Autofit/>
          </a:bodyPr>
          <a:lstStyle/>
          <a:p>
            <a:r>
              <a:rPr lang="en-US" sz="2400" dirty="0"/>
              <a:t>Active Directory Hybrid with Azure </a:t>
            </a:r>
            <a:br>
              <a:rPr lang="en-US" sz="2400" dirty="0"/>
            </a:br>
            <a:r>
              <a:rPr lang="en-US" sz="2400" dirty="0"/>
              <a:t>AD Connect</a:t>
            </a:r>
          </a:p>
          <a:p>
            <a:pPr lvl="1"/>
            <a:r>
              <a:rPr lang="en-US" sz="1800" dirty="0"/>
              <a:t>Exchange Hybrid option enabled</a:t>
            </a:r>
          </a:p>
          <a:p>
            <a:r>
              <a:rPr lang="en-US" sz="2400" dirty="0"/>
              <a:t>SMTP connection between </a:t>
            </a:r>
            <a:br>
              <a:rPr lang="en-US" sz="2400" dirty="0"/>
            </a:br>
            <a:r>
              <a:rPr lang="en-US" sz="2400" dirty="0"/>
              <a:t>on-premises and Exchange Online</a:t>
            </a:r>
          </a:p>
          <a:p>
            <a:pPr lvl="1"/>
            <a:r>
              <a:rPr lang="en-US" sz="1800" dirty="0"/>
              <a:t>Separate hostname </a:t>
            </a:r>
            <a:br>
              <a:rPr lang="en-US" sz="1800" dirty="0"/>
            </a:br>
            <a:r>
              <a:rPr lang="en-US" sz="1800" dirty="0"/>
              <a:t>(e.g., smtp365.company.com) </a:t>
            </a:r>
          </a:p>
          <a:p>
            <a:pPr lvl="1"/>
            <a:r>
              <a:rPr lang="en-US" sz="1800" dirty="0"/>
              <a:t>Additional public IP address</a:t>
            </a:r>
          </a:p>
          <a:p>
            <a:pPr lvl="1"/>
            <a:r>
              <a:rPr lang="en-US" sz="1800" dirty="0"/>
              <a:t>TLS certificate for hostname</a:t>
            </a:r>
          </a:p>
          <a:p>
            <a:pPr lvl="1"/>
            <a:r>
              <a:rPr lang="en-US" sz="1800" dirty="0"/>
              <a:t>Edge Transport Role in </a:t>
            </a:r>
            <a:br>
              <a:rPr lang="en-US" sz="1800" dirty="0"/>
            </a:br>
            <a:r>
              <a:rPr lang="en-US" sz="1800" dirty="0"/>
              <a:t>perimeter network (1)</a:t>
            </a:r>
          </a:p>
          <a:p>
            <a:pPr lvl="1"/>
            <a:r>
              <a:rPr lang="en-US" sz="1800" dirty="0"/>
              <a:t>Alternatively, direct </a:t>
            </a:r>
            <a:br>
              <a:rPr lang="en-US" sz="1800" dirty="0"/>
            </a:br>
            <a:r>
              <a:rPr lang="en-US" sz="1800" dirty="0"/>
              <a:t>inbound connection (2)</a:t>
            </a:r>
          </a:p>
          <a:p>
            <a:pPr marL="0" indent="0">
              <a:buNone/>
            </a:pPr>
            <a:endParaRPr lang="en-US" sz="2400" dirty="0"/>
          </a:p>
        </p:txBody>
      </p:sp>
      <p:sp>
        <p:nvSpPr>
          <p:cNvPr id="7" name="Rectangle 727">
            <a:extLst>
              <a:ext uri="{FF2B5EF4-FFF2-40B4-BE49-F238E27FC236}">
                <a16:creationId xmlns:a16="http://schemas.microsoft.com/office/drawing/2014/main" id="{450594B8-9D76-BF57-80E5-BBCD054D6698}"/>
              </a:ext>
            </a:extLst>
          </p:cNvPr>
          <p:cNvSpPr/>
          <p:nvPr/>
        </p:nvSpPr>
        <p:spPr bwMode="auto">
          <a:xfrm>
            <a:off x="5662557" y="327311"/>
            <a:ext cx="6474028" cy="645080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1397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DD8D0AB0-07A2-6C2F-6C45-AA1BAB422175}"/>
              </a:ext>
            </a:extLst>
          </p:cNvPr>
          <p:cNvSpPr/>
          <p:nvPr/>
        </p:nvSpPr>
        <p:spPr>
          <a:xfrm>
            <a:off x="5756105" y="1681132"/>
            <a:ext cx="6316321" cy="5034820"/>
          </a:xfrm>
          <a:prstGeom prst="roundRect">
            <a:avLst/>
          </a:prstGeom>
          <a:noFill/>
          <a:ln w="28575" cap="flat" cmpd="sng" algn="ctr">
            <a:solidFill>
              <a:schemeClr val="accent3"/>
            </a:solidFill>
            <a:prstDash val="sysDot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4485841"/>
                      <a:gd name="connsiteY0" fmla="*/ 702837 h 4216935"/>
                      <a:gd name="connsiteX1" fmla="*/ 702837 w 4485841"/>
                      <a:gd name="connsiteY1" fmla="*/ 0 h 4216935"/>
                      <a:gd name="connsiteX2" fmla="*/ 1277802 w 4485841"/>
                      <a:gd name="connsiteY2" fmla="*/ 0 h 4216935"/>
                      <a:gd name="connsiteX3" fmla="*/ 1760361 w 4485841"/>
                      <a:gd name="connsiteY3" fmla="*/ 0 h 4216935"/>
                      <a:gd name="connsiteX4" fmla="*/ 2212119 w 4485841"/>
                      <a:gd name="connsiteY4" fmla="*/ 0 h 4216935"/>
                      <a:gd name="connsiteX5" fmla="*/ 2756282 w 4485841"/>
                      <a:gd name="connsiteY5" fmla="*/ 0 h 4216935"/>
                      <a:gd name="connsiteX6" fmla="*/ 3238841 w 4485841"/>
                      <a:gd name="connsiteY6" fmla="*/ 0 h 4216935"/>
                      <a:gd name="connsiteX7" fmla="*/ 3783004 w 4485841"/>
                      <a:gd name="connsiteY7" fmla="*/ 0 h 4216935"/>
                      <a:gd name="connsiteX8" fmla="*/ 4485841 w 4485841"/>
                      <a:gd name="connsiteY8" fmla="*/ 702837 h 4216935"/>
                      <a:gd name="connsiteX9" fmla="*/ 4485841 w 4485841"/>
                      <a:gd name="connsiteY9" fmla="*/ 1208864 h 4216935"/>
                      <a:gd name="connsiteX10" fmla="*/ 4485841 w 4485841"/>
                      <a:gd name="connsiteY10" fmla="*/ 1771116 h 4216935"/>
                      <a:gd name="connsiteX11" fmla="*/ 4485841 w 4485841"/>
                      <a:gd name="connsiteY11" fmla="*/ 2333368 h 4216935"/>
                      <a:gd name="connsiteX12" fmla="*/ 4485841 w 4485841"/>
                      <a:gd name="connsiteY12" fmla="*/ 2867508 h 4216935"/>
                      <a:gd name="connsiteX13" fmla="*/ 4485841 w 4485841"/>
                      <a:gd name="connsiteY13" fmla="*/ 3514098 h 4216935"/>
                      <a:gd name="connsiteX14" fmla="*/ 3783004 w 4485841"/>
                      <a:gd name="connsiteY14" fmla="*/ 4216935 h 4216935"/>
                      <a:gd name="connsiteX15" fmla="*/ 3269643 w 4485841"/>
                      <a:gd name="connsiteY15" fmla="*/ 4216935 h 4216935"/>
                      <a:gd name="connsiteX16" fmla="*/ 2694678 w 4485841"/>
                      <a:gd name="connsiteY16" fmla="*/ 4216935 h 4216935"/>
                      <a:gd name="connsiteX17" fmla="*/ 2181317 w 4485841"/>
                      <a:gd name="connsiteY17" fmla="*/ 4216935 h 4216935"/>
                      <a:gd name="connsiteX18" fmla="*/ 1760361 w 4485841"/>
                      <a:gd name="connsiteY18" fmla="*/ 4216935 h 4216935"/>
                      <a:gd name="connsiteX19" fmla="*/ 1308603 w 4485841"/>
                      <a:gd name="connsiteY19" fmla="*/ 4216935 h 4216935"/>
                      <a:gd name="connsiteX20" fmla="*/ 702837 w 4485841"/>
                      <a:gd name="connsiteY20" fmla="*/ 4216935 h 4216935"/>
                      <a:gd name="connsiteX21" fmla="*/ 0 w 4485841"/>
                      <a:gd name="connsiteY21" fmla="*/ 3514098 h 4216935"/>
                      <a:gd name="connsiteX22" fmla="*/ 0 w 4485841"/>
                      <a:gd name="connsiteY22" fmla="*/ 3008071 h 4216935"/>
                      <a:gd name="connsiteX23" fmla="*/ 0 w 4485841"/>
                      <a:gd name="connsiteY23" fmla="*/ 2530157 h 4216935"/>
                      <a:gd name="connsiteX24" fmla="*/ 0 w 4485841"/>
                      <a:gd name="connsiteY24" fmla="*/ 2052242 h 4216935"/>
                      <a:gd name="connsiteX25" fmla="*/ 0 w 4485841"/>
                      <a:gd name="connsiteY25" fmla="*/ 1489990 h 4216935"/>
                      <a:gd name="connsiteX26" fmla="*/ 0 w 4485841"/>
                      <a:gd name="connsiteY26" fmla="*/ 702837 h 421693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</a:cxnLst>
                    <a:rect l="l" t="t" r="r" b="b"/>
                    <a:pathLst>
                      <a:path w="4485841" h="4216935" extrusionOk="0">
                        <a:moveTo>
                          <a:pt x="0" y="702837"/>
                        </a:moveTo>
                        <a:cubicBezTo>
                          <a:pt x="-96001" y="255455"/>
                          <a:pt x="266772" y="17977"/>
                          <a:pt x="702837" y="0"/>
                        </a:cubicBezTo>
                        <a:cubicBezTo>
                          <a:pt x="897927" y="-58606"/>
                          <a:pt x="1107915" y="48592"/>
                          <a:pt x="1277802" y="0"/>
                        </a:cubicBezTo>
                        <a:cubicBezTo>
                          <a:pt x="1447689" y="-48592"/>
                          <a:pt x="1653487" y="7522"/>
                          <a:pt x="1760361" y="0"/>
                        </a:cubicBezTo>
                        <a:cubicBezTo>
                          <a:pt x="1867235" y="-7522"/>
                          <a:pt x="2104838" y="34438"/>
                          <a:pt x="2212119" y="0"/>
                        </a:cubicBezTo>
                        <a:cubicBezTo>
                          <a:pt x="2319400" y="-34438"/>
                          <a:pt x="2502317" y="44956"/>
                          <a:pt x="2756282" y="0"/>
                        </a:cubicBezTo>
                        <a:cubicBezTo>
                          <a:pt x="3010247" y="-44956"/>
                          <a:pt x="3040101" y="36333"/>
                          <a:pt x="3238841" y="0"/>
                        </a:cubicBezTo>
                        <a:cubicBezTo>
                          <a:pt x="3437581" y="-36333"/>
                          <a:pt x="3594978" y="62382"/>
                          <a:pt x="3783004" y="0"/>
                        </a:cubicBezTo>
                        <a:cubicBezTo>
                          <a:pt x="4162388" y="-83747"/>
                          <a:pt x="4466563" y="341463"/>
                          <a:pt x="4485841" y="702837"/>
                        </a:cubicBezTo>
                        <a:cubicBezTo>
                          <a:pt x="4533611" y="845302"/>
                          <a:pt x="4432755" y="1103243"/>
                          <a:pt x="4485841" y="1208864"/>
                        </a:cubicBezTo>
                        <a:cubicBezTo>
                          <a:pt x="4538927" y="1314485"/>
                          <a:pt x="4477789" y="1649172"/>
                          <a:pt x="4485841" y="1771116"/>
                        </a:cubicBezTo>
                        <a:cubicBezTo>
                          <a:pt x="4493893" y="1893060"/>
                          <a:pt x="4450271" y="2184675"/>
                          <a:pt x="4485841" y="2333368"/>
                        </a:cubicBezTo>
                        <a:cubicBezTo>
                          <a:pt x="4521411" y="2482061"/>
                          <a:pt x="4447469" y="2629944"/>
                          <a:pt x="4485841" y="2867508"/>
                        </a:cubicBezTo>
                        <a:cubicBezTo>
                          <a:pt x="4524213" y="3105072"/>
                          <a:pt x="4446409" y="3313430"/>
                          <a:pt x="4485841" y="3514098"/>
                        </a:cubicBezTo>
                        <a:cubicBezTo>
                          <a:pt x="4496330" y="3889242"/>
                          <a:pt x="4109219" y="4192986"/>
                          <a:pt x="3783004" y="4216935"/>
                        </a:cubicBezTo>
                        <a:cubicBezTo>
                          <a:pt x="3664904" y="4222734"/>
                          <a:pt x="3373884" y="4216849"/>
                          <a:pt x="3269643" y="4216935"/>
                        </a:cubicBezTo>
                        <a:cubicBezTo>
                          <a:pt x="3165402" y="4217021"/>
                          <a:pt x="2980315" y="4168994"/>
                          <a:pt x="2694678" y="4216935"/>
                        </a:cubicBezTo>
                        <a:cubicBezTo>
                          <a:pt x="2409042" y="4264876"/>
                          <a:pt x="2340730" y="4173799"/>
                          <a:pt x="2181317" y="4216935"/>
                        </a:cubicBezTo>
                        <a:cubicBezTo>
                          <a:pt x="2021904" y="4260071"/>
                          <a:pt x="1900773" y="4195431"/>
                          <a:pt x="1760361" y="4216935"/>
                        </a:cubicBezTo>
                        <a:cubicBezTo>
                          <a:pt x="1619949" y="4238439"/>
                          <a:pt x="1424486" y="4194196"/>
                          <a:pt x="1308603" y="4216935"/>
                        </a:cubicBezTo>
                        <a:cubicBezTo>
                          <a:pt x="1192720" y="4239674"/>
                          <a:pt x="936750" y="4153641"/>
                          <a:pt x="702837" y="4216935"/>
                        </a:cubicBezTo>
                        <a:cubicBezTo>
                          <a:pt x="324586" y="4214837"/>
                          <a:pt x="1771" y="3919084"/>
                          <a:pt x="0" y="3514098"/>
                        </a:cubicBezTo>
                        <a:cubicBezTo>
                          <a:pt x="-48940" y="3262440"/>
                          <a:pt x="41589" y="3238493"/>
                          <a:pt x="0" y="3008071"/>
                        </a:cubicBezTo>
                        <a:cubicBezTo>
                          <a:pt x="-41589" y="2777649"/>
                          <a:pt x="38803" y="2670079"/>
                          <a:pt x="0" y="2530157"/>
                        </a:cubicBezTo>
                        <a:cubicBezTo>
                          <a:pt x="-38803" y="2390235"/>
                          <a:pt x="14977" y="2164964"/>
                          <a:pt x="0" y="2052242"/>
                        </a:cubicBezTo>
                        <a:cubicBezTo>
                          <a:pt x="-14977" y="1939520"/>
                          <a:pt x="45063" y="1624621"/>
                          <a:pt x="0" y="1489990"/>
                        </a:cubicBezTo>
                        <a:cubicBezTo>
                          <a:pt x="-45063" y="1355359"/>
                          <a:pt x="91104" y="939259"/>
                          <a:pt x="0" y="702837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vert="vert270" rtlCol="0" anchor="t"/>
          <a:lstStyle/>
          <a:p>
            <a:pPr marL="0" marR="0" lvl="0" indent="0" algn="ctr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Hybrid Configuration</a:t>
            </a:r>
          </a:p>
          <a:p>
            <a:pPr marL="0" marR="0" lvl="0" indent="0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A5C249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A5C249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A5C249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6E04115-FF32-2774-90F7-E6630C616A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52803" y="5207331"/>
            <a:ext cx="685800" cy="800100"/>
          </a:xfrm>
          <a:prstGeom prst="rect">
            <a:avLst/>
          </a:prstGeom>
        </p:spPr>
      </p:pic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FF19A621-C23B-5A5C-68A9-6E433946FE51}"/>
              </a:ext>
            </a:extLst>
          </p:cNvPr>
          <p:cNvSpPr/>
          <p:nvPr/>
        </p:nvSpPr>
        <p:spPr>
          <a:xfrm>
            <a:off x="6335226" y="3610397"/>
            <a:ext cx="5412035" cy="1398276"/>
          </a:xfrm>
          <a:prstGeom prst="roundRect">
            <a:avLst/>
          </a:prstGeom>
          <a:noFill/>
          <a:ln w="9525" cap="flat" cmpd="sng" algn="ctr">
            <a:solidFill>
              <a:srgbClr val="0F6FC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rtlCol="0" anchor="b"/>
          <a:lstStyle/>
          <a:p>
            <a:pPr marL="0" marR="0" lvl="0" indent="0" algn="ctr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F6FC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erimeter Network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37B30935-3E7C-AC80-F386-AABCE172874B}"/>
              </a:ext>
            </a:extLst>
          </p:cNvPr>
          <p:cNvGrpSpPr/>
          <p:nvPr/>
        </p:nvGrpSpPr>
        <p:grpSpPr>
          <a:xfrm>
            <a:off x="6335226" y="440086"/>
            <a:ext cx="5737200" cy="2085504"/>
            <a:chOff x="6390641" y="455675"/>
            <a:chExt cx="5737200" cy="2085504"/>
          </a:xfrm>
        </p:grpSpPr>
        <p:sp>
          <p:nvSpPr>
            <p:cNvPr id="12" name="Rechteck: abgerundete Ecken 11">
              <a:extLst>
                <a:ext uri="{FF2B5EF4-FFF2-40B4-BE49-F238E27FC236}">
                  <a16:creationId xmlns:a16="http://schemas.microsoft.com/office/drawing/2014/main" id="{7343ECFF-D903-8307-2572-ED39D5B5D6BD}"/>
                </a:ext>
              </a:extLst>
            </p:cNvPr>
            <p:cNvSpPr/>
            <p:nvPr/>
          </p:nvSpPr>
          <p:spPr>
            <a:xfrm>
              <a:off x="6390641" y="1104265"/>
              <a:ext cx="5412035" cy="1436914"/>
            </a:xfrm>
            <a:prstGeom prst="roundRect">
              <a:avLst/>
            </a:prstGeom>
            <a:noFill/>
            <a:ln w="9525" cap="flat" cmpd="sng" algn="ctr">
              <a:solidFill>
                <a:srgbClr val="0F6FC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t"/>
            <a:lstStyle/>
            <a:p>
              <a:pPr marL="0" marR="0" lvl="0" indent="0" defTabSz="914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F6FC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Microsoft 365</a:t>
              </a:r>
            </a:p>
          </p:txBody>
        </p:sp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22B5160A-931F-FC65-5587-65329842A69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485594" y="455675"/>
              <a:ext cx="1642247" cy="1026404"/>
            </a:xfrm>
            <a:prstGeom prst="rect">
              <a:avLst/>
            </a:prstGeom>
          </p:spPr>
        </p:pic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E33C4D22-470A-AC33-E3A8-B15B57DB0E2A}"/>
                </a:ext>
              </a:extLst>
            </p:cNvPr>
            <p:cNvGrpSpPr/>
            <p:nvPr/>
          </p:nvGrpSpPr>
          <p:grpSpPr>
            <a:xfrm>
              <a:off x="6532874" y="1913171"/>
              <a:ext cx="3580287" cy="541110"/>
              <a:chOff x="8008278" y="2677302"/>
              <a:chExt cx="3580287" cy="541110"/>
            </a:xfrm>
          </p:grpSpPr>
          <p:pic>
            <p:nvPicPr>
              <p:cNvPr id="16" name="Grafik 15">
                <a:extLst>
                  <a:ext uri="{FF2B5EF4-FFF2-40B4-BE49-F238E27FC236}">
                    <a16:creationId xmlns:a16="http://schemas.microsoft.com/office/drawing/2014/main" id="{EA683AAA-09FB-45D2-6ACD-C1152A86D67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8708742" y="2806767"/>
                <a:ext cx="381000" cy="342900"/>
              </a:xfrm>
              <a:prstGeom prst="rect">
                <a:avLst/>
              </a:prstGeom>
            </p:spPr>
          </p:pic>
          <p:sp>
            <p:nvSpPr>
              <p:cNvPr id="17" name="Rechteck: abgerundete Ecken 16">
                <a:extLst>
                  <a:ext uri="{FF2B5EF4-FFF2-40B4-BE49-F238E27FC236}">
                    <a16:creationId xmlns:a16="http://schemas.microsoft.com/office/drawing/2014/main" id="{E08146F5-3D92-0802-8FB7-A246DBF73BDA}"/>
                  </a:ext>
                </a:extLst>
              </p:cNvPr>
              <p:cNvSpPr/>
              <p:nvPr/>
            </p:nvSpPr>
            <p:spPr>
              <a:xfrm>
                <a:off x="8008278" y="2677302"/>
                <a:ext cx="3580287" cy="541110"/>
              </a:xfrm>
              <a:prstGeom prst="roundRect">
                <a:avLst/>
              </a:prstGeom>
              <a:noFill/>
              <a:ln w="9525" cap="flat" cmpd="sng" algn="ctr">
                <a:solidFill>
                  <a:srgbClr val="0F6FC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F6FC6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Exchange Online</a:t>
                </a:r>
              </a:p>
            </p:txBody>
          </p:sp>
        </p:grpSp>
        <p:sp>
          <p:nvSpPr>
            <p:cNvPr id="15" name="Rechteck: abgerundete Ecken 14">
              <a:extLst>
                <a:ext uri="{FF2B5EF4-FFF2-40B4-BE49-F238E27FC236}">
                  <a16:creationId xmlns:a16="http://schemas.microsoft.com/office/drawing/2014/main" id="{849D1EE5-AA70-7E54-39D3-9E86685CCF1B}"/>
                </a:ext>
              </a:extLst>
            </p:cNvPr>
            <p:cNvSpPr/>
            <p:nvPr/>
          </p:nvSpPr>
          <p:spPr>
            <a:xfrm>
              <a:off x="10113161" y="1913171"/>
              <a:ext cx="1500582" cy="534912"/>
            </a:xfrm>
            <a:prstGeom prst="roundRect">
              <a:avLst/>
            </a:prstGeom>
            <a:noFill/>
            <a:ln w="9525" cap="flat" cmpd="sng" algn="ctr">
              <a:solidFill>
                <a:srgbClr val="0F6FC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F6FC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Azure AD</a:t>
              </a:r>
            </a:p>
          </p:txBody>
        </p:sp>
      </p:grp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EA2A3640-EC35-3C13-FDB8-E09DB397FA9B}"/>
              </a:ext>
            </a:extLst>
          </p:cNvPr>
          <p:cNvCxnSpPr>
            <a:cxnSpLocks/>
          </p:cNvCxnSpPr>
          <p:nvPr/>
        </p:nvCxnSpPr>
        <p:spPr>
          <a:xfrm flipV="1">
            <a:off x="10776287" y="2432495"/>
            <a:ext cx="0" cy="2774836"/>
          </a:xfrm>
          <a:prstGeom prst="straightConnector1">
            <a:avLst/>
          </a:prstGeom>
          <a:noFill/>
          <a:ln w="38100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pic>
        <p:nvPicPr>
          <p:cNvPr id="19" name="Grafik 18">
            <a:extLst>
              <a:ext uri="{FF2B5EF4-FFF2-40B4-BE49-F238E27FC236}">
                <a16:creationId xmlns:a16="http://schemas.microsoft.com/office/drawing/2014/main" id="{DFE3D392-45C8-841B-6F92-B6D04839EAB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53379" y="3879961"/>
            <a:ext cx="771525" cy="752475"/>
          </a:xfrm>
          <a:prstGeom prst="rect">
            <a:avLst/>
          </a:prstGeom>
        </p:spPr>
      </p:pic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F2CC574A-F1ED-A648-D63B-1E26DC2C5BDC}"/>
              </a:ext>
            </a:extLst>
          </p:cNvPr>
          <p:cNvCxnSpPr>
            <a:cxnSpLocks/>
          </p:cNvCxnSpPr>
          <p:nvPr/>
        </p:nvCxnSpPr>
        <p:spPr>
          <a:xfrm flipV="1">
            <a:off x="9554656" y="2432494"/>
            <a:ext cx="0" cy="1501617"/>
          </a:xfrm>
          <a:prstGeom prst="straightConnector1">
            <a:avLst/>
          </a:prstGeom>
          <a:noFill/>
          <a:ln w="38100" cap="flat" cmpd="sng" algn="ctr">
            <a:solidFill>
              <a:schemeClr val="accent2"/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BB7741C7-51F4-A25D-3867-5997EA58C043}"/>
              </a:ext>
            </a:extLst>
          </p:cNvPr>
          <p:cNvSpPr/>
          <p:nvPr/>
        </p:nvSpPr>
        <p:spPr>
          <a:xfrm>
            <a:off x="6335226" y="5018918"/>
            <a:ext cx="5412035" cy="1536700"/>
          </a:xfrm>
          <a:prstGeom prst="roundRect">
            <a:avLst/>
          </a:prstGeom>
          <a:noFill/>
          <a:ln w="9525" cap="flat" cmpd="sng" algn="ctr">
            <a:solidFill>
              <a:srgbClr val="0F6FC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rtlCol="0" anchor="b"/>
          <a:lstStyle/>
          <a:p>
            <a:pPr marL="0" marR="0" lvl="0" indent="0" algn="ctr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F6FC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mpany Network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1EE3CC51-064A-2C66-4E55-8713DD547C8B}"/>
              </a:ext>
            </a:extLst>
          </p:cNvPr>
          <p:cNvCxnSpPr>
            <a:cxnSpLocks/>
          </p:cNvCxnSpPr>
          <p:nvPr/>
        </p:nvCxnSpPr>
        <p:spPr>
          <a:xfrm flipV="1">
            <a:off x="9561637" y="4581811"/>
            <a:ext cx="7748" cy="563879"/>
          </a:xfrm>
          <a:prstGeom prst="straightConnector1">
            <a:avLst/>
          </a:prstGeom>
          <a:noFill/>
          <a:ln w="38100" cap="flat" cmpd="sng" algn="ctr">
            <a:solidFill>
              <a:schemeClr val="accent2"/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50DF90CF-88A6-4DD6-04A2-0BFC9C0D6FF6}"/>
              </a:ext>
            </a:extLst>
          </p:cNvPr>
          <p:cNvCxnSpPr>
            <a:cxnSpLocks/>
          </p:cNvCxnSpPr>
          <p:nvPr/>
        </p:nvCxnSpPr>
        <p:spPr>
          <a:xfrm flipH="1" flipV="1">
            <a:off x="8950880" y="2432494"/>
            <a:ext cx="5805" cy="2713197"/>
          </a:xfrm>
          <a:prstGeom prst="straightConnector1">
            <a:avLst/>
          </a:prstGeom>
          <a:noFill/>
          <a:ln w="38100" cap="flat" cmpd="sng" algn="ctr">
            <a:solidFill>
              <a:schemeClr val="accent2"/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813FDBD-387B-1D4D-00F0-B0317EDFCD42}"/>
              </a:ext>
            </a:extLst>
          </p:cNvPr>
          <p:cNvGrpSpPr/>
          <p:nvPr/>
        </p:nvGrpSpPr>
        <p:grpSpPr>
          <a:xfrm>
            <a:off x="6477458" y="5145690"/>
            <a:ext cx="3762869" cy="1099821"/>
            <a:chOff x="6532873" y="5161279"/>
            <a:chExt cx="3762869" cy="1099821"/>
          </a:xfrm>
        </p:grpSpPr>
        <p:pic>
          <p:nvPicPr>
            <p:cNvPr id="27" name="Grafik 26">
              <a:extLst>
                <a:ext uri="{FF2B5EF4-FFF2-40B4-BE49-F238E27FC236}">
                  <a16:creationId xmlns:a16="http://schemas.microsoft.com/office/drawing/2014/main" id="{F3A89D4D-E122-231C-6E04-401B4B65F9A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022646" y="5237208"/>
              <a:ext cx="771525" cy="752475"/>
            </a:xfrm>
            <a:prstGeom prst="rect">
              <a:avLst/>
            </a:prstGeom>
          </p:spPr>
        </p:pic>
        <p:pic>
          <p:nvPicPr>
            <p:cNvPr id="28" name="Grafik 27">
              <a:extLst>
                <a:ext uri="{FF2B5EF4-FFF2-40B4-BE49-F238E27FC236}">
                  <a16:creationId xmlns:a16="http://schemas.microsoft.com/office/drawing/2014/main" id="{69AC8BA4-8EED-6289-B0FB-C87629C9807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196670" y="5222920"/>
              <a:ext cx="809625" cy="781050"/>
            </a:xfrm>
            <a:prstGeom prst="rect">
              <a:avLst/>
            </a:prstGeom>
          </p:spPr>
        </p:pic>
        <p:pic>
          <p:nvPicPr>
            <p:cNvPr id="29" name="Grafik 28">
              <a:extLst>
                <a:ext uri="{FF2B5EF4-FFF2-40B4-BE49-F238E27FC236}">
                  <a16:creationId xmlns:a16="http://schemas.microsoft.com/office/drawing/2014/main" id="{B361C1C7-78AB-EE8A-3AF0-7905ABEE509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408794" y="5237208"/>
              <a:ext cx="809625" cy="781050"/>
            </a:xfrm>
            <a:prstGeom prst="rect">
              <a:avLst/>
            </a:prstGeom>
          </p:spPr>
        </p:pic>
        <p:sp>
          <p:nvSpPr>
            <p:cNvPr id="30" name="Rechteck: abgerundete Ecken 29">
              <a:extLst>
                <a:ext uri="{FF2B5EF4-FFF2-40B4-BE49-F238E27FC236}">
                  <a16:creationId xmlns:a16="http://schemas.microsoft.com/office/drawing/2014/main" id="{AA24CCB1-0EDC-759B-0D73-301920178DEA}"/>
                </a:ext>
              </a:extLst>
            </p:cNvPr>
            <p:cNvSpPr/>
            <p:nvPr/>
          </p:nvSpPr>
          <p:spPr>
            <a:xfrm>
              <a:off x="6532873" y="5161279"/>
              <a:ext cx="3762869" cy="1099821"/>
            </a:xfrm>
            <a:prstGeom prst="roundRect">
              <a:avLst/>
            </a:prstGeom>
            <a:noFill/>
            <a:ln w="9525" cap="flat" cmpd="sng" algn="ctr">
              <a:solidFill>
                <a:srgbClr val="0F6FC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b"/>
            <a:lstStyle/>
            <a:p>
              <a:pPr marL="0" marR="0" lvl="0" indent="0" defTabSz="914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F6FC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On-Premises Exchange Organization</a:t>
              </a:r>
            </a:p>
          </p:txBody>
        </p:sp>
      </p:grpSp>
      <p:sp>
        <p:nvSpPr>
          <p:cNvPr id="34" name="Textfeld 33">
            <a:extLst>
              <a:ext uri="{FF2B5EF4-FFF2-40B4-BE49-F238E27FC236}">
                <a16:creationId xmlns:a16="http://schemas.microsoft.com/office/drawing/2014/main" id="{6102F44A-91FE-D563-A4AC-879C1F602CAA}"/>
              </a:ext>
            </a:extLst>
          </p:cNvPr>
          <p:cNvSpPr txBox="1"/>
          <p:nvPr/>
        </p:nvSpPr>
        <p:spPr>
          <a:xfrm rot="16200000">
            <a:off x="8732872" y="2949364"/>
            <a:ext cx="1021556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-7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SMTP</a:t>
            </a:r>
          </a:p>
        </p:txBody>
      </p:sp>
      <p:pic>
        <p:nvPicPr>
          <p:cNvPr id="36" name="Grafik 35" descr="Marke 1">
            <a:extLst>
              <a:ext uri="{FF2B5EF4-FFF2-40B4-BE49-F238E27FC236}">
                <a16:creationId xmlns:a16="http://schemas.microsoft.com/office/drawing/2014/main" id="{CE4F1001-8675-E6F4-333A-94C369BB7CB8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446185" y="2238089"/>
            <a:ext cx="213168" cy="213168"/>
          </a:xfrm>
          <a:prstGeom prst="rect">
            <a:avLst/>
          </a:prstGeom>
        </p:spPr>
      </p:pic>
      <p:pic>
        <p:nvPicPr>
          <p:cNvPr id="37" name="Grafik 36" descr="Abzeichen">
            <a:extLst>
              <a:ext uri="{FF2B5EF4-FFF2-40B4-BE49-F238E27FC236}">
                <a16:creationId xmlns:a16="http://schemas.microsoft.com/office/drawing/2014/main" id="{988F306A-2061-1940-AF49-0242830C07DB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848630" y="2235677"/>
            <a:ext cx="215444" cy="215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9142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0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00"/>
                            </p:stCondLst>
                            <p:childTnLst>
                              <p:par>
                                <p:cTn id="3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1000"/>
                            </p:stCondLst>
                            <p:childTnLst>
                              <p:par>
                                <p:cTn id="66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7" grpId="0" animBg="1"/>
      <p:bldP spid="8" grpId="0" animBg="1"/>
      <p:bldP spid="10" grpId="0" animBg="1"/>
      <p:bldP spid="21" grpId="0" animBg="1"/>
      <p:bldP spid="34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AEC24E-0D77-83BA-413F-72A4AD782C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rn Full Hybrid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30B2CA8-CCEA-8CB9-2874-A55784F305A0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/>
              <a:t>Outbound HTTPS connections </a:t>
            </a:r>
            <a:br>
              <a:rPr lang="en-US" dirty="0"/>
            </a:br>
            <a:r>
              <a:rPr lang="en-US" dirty="0"/>
              <a:t>to Exchange Online</a:t>
            </a:r>
          </a:p>
          <a:p>
            <a:pPr lvl="1"/>
            <a:r>
              <a:rPr lang="en-US" sz="1800" b="1" dirty="0"/>
              <a:t>Exchange Hybrid-Agent </a:t>
            </a:r>
            <a:r>
              <a:rPr lang="en-US" sz="1800" dirty="0"/>
              <a:t>for </a:t>
            </a:r>
            <a:br>
              <a:rPr lang="en-US" sz="1800" dirty="0"/>
            </a:br>
            <a:r>
              <a:rPr lang="en-US" sz="1800" dirty="0"/>
              <a:t>Exchange Online to Exchange </a:t>
            </a:r>
            <a:br>
              <a:rPr lang="en-US" sz="1800" dirty="0"/>
            </a:br>
            <a:r>
              <a:rPr lang="en-US" sz="1800" dirty="0"/>
              <a:t>on-premises communication</a:t>
            </a:r>
            <a:br>
              <a:rPr lang="en-US" sz="1800" dirty="0"/>
            </a:br>
            <a:r>
              <a:rPr lang="en-US" sz="1800" dirty="0">
                <a:sym typeface="Wingdings" panose="05000000000000000000" pitchFamily="2" charset="2"/>
              </a:rPr>
              <a:t> Azure Service Bus variant</a:t>
            </a:r>
            <a:endParaRPr lang="en-US" sz="1800" dirty="0"/>
          </a:p>
          <a:p>
            <a:pPr lvl="1"/>
            <a:r>
              <a:rPr lang="en-US" sz="1800" dirty="0"/>
              <a:t>Exchange Server communication to </a:t>
            </a:r>
            <a:br>
              <a:rPr lang="en-US" sz="1800" dirty="0"/>
            </a:br>
            <a:r>
              <a:rPr lang="en-US" sz="1800" dirty="0"/>
              <a:t>Exchange Online</a:t>
            </a:r>
          </a:p>
          <a:p>
            <a:r>
              <a:rPr lang="en-US" dirty="0"/>
              <a:t>Install additional Hybrid </a:t>
            </a:r>
            <a:br>
              <a:rPr lang="en-US" dirty="0"/>
            </a:br>
            <a:r>
              <a:rPr lang="en-US" dirty="0"/>
              <a:t>Agents for redundancy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7" name="Rectangle 727">
            <a:extLst>
              <a:ext uri="{FF2B5EF4-FFF2-40B4-BE49-F238E27FC236}">
                <a16:creationId xmlns:a16="http://schemas.microsoft.com/office/drawing/2014/main" id="{450594B8-9D76-BF57-80E5-BBCD054D6698}"/>
              </a:ext>
            </a:extLst>
          </p:cNvPr>
          <p:cNvSpPr/>
          <p:nvPr/>
        </p:nvSpPr>
        <p:spPr bwMode="auto">
          <a:xfrm>
            <a:off x="5662557" y="327311"/>
            <a:ext cx="6474028" cy="6450806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1397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DD8D0AB0-07A2-6C2F-6C45-AA1BAB422175}"/>
              </a:ext>
            </a:extLst>
          </p:cNvPr>
          <p:cNvSpPr/>
          <p:nvPr/>
        </p:nvSpPr>
        <p:spPr>
          <a:xfrm>
            <a:off x="5756105" y="1681132"/>
            <a:ext cx="6316321" cy="5034820"/>
          </a:xfrm>
          <a:prstGeom prst="roundRect">
            <a:avLst/>
          </a:prstGeom>
          <a:noFill/>
          <a:ln w="28575" cap="flat" cmpd="sng" algn="ctr">
            <a:solidFill>
              <a:schemeClr val="accent3"/>
            </a:solidFill>
            <a:prstDash val="sysDot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4485841"/>
                      <a:gd name="connsiteY0" fmla="*/ 702837 h 4216935"/>
                      <a:gd name="connsiteX1" fmla="*/ 702837 w 4485841"/>
                      <a:gd name="connsiteY1" fmla="*/ 0 h 4216935"/>
                      <a:gd name="connsiteX2" fmla="*/ 1277802 w 4485841"/>
                      <a:gd name="connsiteY2" fmla="*/ 0 h 4216935"/>
                      <a:gd name="connsiteX3" fmla="*/ 1760361 w 4485841"/>
                      <a:gd name="connsiteY3" fmla="*/ 0 h 4216935"/>
                      <a:gd name="connsiteX4" fmla="*/ 2212119 w 4485841"/>
                      <a:gd name="connsiteY4" fmla="*/ 0 h 4216935"/>
                      <a:gd name="connsiteX5" fmla="*/ 2756282 w 4485841"/>
                      <a:gd name="connsiteY5" fmla="*/ 0 h 4216935"/>
                      <a:gd name="connsiteX6" fmla="*/ 3238841 w 4485841"/>
                      <a:gd name="connsiteY6" fmla="*/ 0 h 4216935"/>
                      <a:gd name="connsiteX7" fmla="*/ 3783004 w 4485841"/>
                      <a:gd name="connsiteY7" fmla="*/ 0 h 4216935"/>
                      <a:gd name="connsiteX8" fmla="*/ 4485841 w 4485841"/>
                      <a:gd name="connsiteY8" fmla="*/ 702837 h 4216935"/>
                      <a:gd name="connsiteX9" fmla="*/ 4485841 w 4485841"/>
                      <a:gd name="connsiteY9" fmla="*/ 1208864 h 4216935"/>
                      <a:gd name="connsiteX10" fmla="*/ 4485841 w 4485841"/>
                      <a:gd name="connsiteY10" fmla="*/ 1771116 h 4216935"/>
                      <a:gd name="connsiteX11" fmla="*/ 4485841 w 4485841"/>
                      <a:gd name="connsiteY11" fmla="*/ 2333368 h 4216935"/>
                      <a:gd name="connsiteX12" fmla="*/ 4485841 w 4485841"/>
                      <a:gd name="connsiteY12" fmla="*/ 2867508 h 4216935"/>
                      <a:gd name="connsiteX13" fmla="*/ 4485841 w 4485841"/>
                      <a:gd name="connsiteY13" fmla="*/ 3514098 h 4216935"/>
                      <a:gd name="connsiteX14" fmla="*/ 3783004 w 4485841"/>
                      <a:gd name="connsiteY14" fmla="*/ 4216935 h 4216935"/>
                      <a:gd name="connsiteX15" fmla="*/ 3269643 w 4485841"/>
                      <a:gd name="connsiteY15" fmla="*/ 4216935 h 4216935"/>
                      <a:gd name="connsiteX16" fmla="*/ 2694678 w 4485841"/>
                      <a:gd name="connsiteY16" fmla="*/ 4216935 h 4216935"/>
                      <a:gd name="connsiteX17" fmla="*/ 2181317 w 4485841"/>
                      <a:gd name="connsiteY17" fmla="*/ 4216935 h 4216935"/>
                      <a:gd name="connsiteX18" fmla="*/ 1760361 w 4485841"/>
                      <a:gd name="connsiteY18" fmla="*/ 4216935 h 4216935"/>
                      <a:gd name="connsiteX19" fmla="*/ 1308603 w 4485841"/>
                      <a:gd name="connsiteY19" fmla="*/ 4216935 h 4216935"/>
                      <a:gd name="connsiteX20" fmla="*/ 702837 w 4485841"/>
                      <a:gd name="connsiteY20" fmla="*/ 4216935 h 4216935"/>
                      <a:gd name="connsiteX21" fmla="*/ 0 w 4485841"/>
                      <a:gd name="connsiteY21" fmla="*/ 3514098 h 4216935"/>
                      <a:gd name="connsiteX22" fmla="*/ 0 w 4485841"/>
                      <a:gd name="connsiteY22" fmla="*/ 3008071 h 4216935"/>
                      <a:gd name="connsiteX23" fmla="*/ 0 w 4485841"/>
                      <a:gd name="connsiteY23" fmla="*/ 2530157 h 4216935"/>
                      <a:gd name="connsiteX24" fmla="*/ 0 w 4485841"/>
                      <a:gd name="connsiteY24" fmla="*/ 2052242 h 4216935"/>
                      <a:gd name="connsiteX25" fmla="*/ 0 w 4485841"/>
                      <a:gd name="connsiteY25" fmla="*/ 1489990 h 4216935"/>
                      <a:gd name="connsiteX26" fmla="*/ 0 w 4485841"/>
                      <a:gd name="connsiteY26" fmla="*/ 702837 h 421693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</a:cxnLst>
                    <a:rect l="l" t="t" r="r" b="b"/>
                    <a:pathLst>
                      <a:path w="4485841" h="4216935" extrusionOk="0">
                        <a:moveTo>
                          <a:pt x="0" y="702837"/>
                        </a:moveTo>
                        <a:cubicBezTo>
                          <a:pt x="-96001" y="255455"/>
                          <a:pt x="266772" y="17977"/>
                          <a:pt x="702837" y="0"/>
                        </a:cubicBezTo>
                        <a:cubicBezTo>
                          <a:pt x="897927" y="-58606"/>
                          <a:pt x="1107915" y="48592"/>
                          <a:pt x="1277802" y="0"/>
                        </a:cubicBezTo>
                        <a:cubicBezTo>
                          <a:pt x="1447689" y="-48592"/>
                          <a:pt x="1653487" y="7522"/>
                          <a:pt x="1760361" y="0"/>
                        </a:cubicBezTo>
                        <a:cubicBezTo>
                          <a:pt x="1867235" y="-7522"/>
                          <a:pt x="2104838" y="34438"/>
                          <a:pt x="2212119" y="0"/>
                        </a:cubicBezTo>
                        <a:cubicBezTo>
                          <a:pt x="2319400" y="-34438"/>
                          <a:pt x="2502317" y="44956"/>
                          <a:pt x="2756282" y="0"/>
                        </a:cubicBezTo>
                        <a:cubicBezTo>
                          <a:pt x="3010247" y="-44956"/>
                          <a:pt x="3040101" y="36333"/>
                          <a:pt x="3238841" y="0"/>
                        </a:cubicBezTo>
                        <a:cubicBezTo>
                          <a:pt x="3437581" y="-36333"/>
                          <a:pt x="3594978" y="62382"/>
                          <a:pt x="3783004" y="0"/>
                        </a:cubicBezTo>
                        <a:cubicBezTo>
                          <a:pt x="4162388" y="-83747"/>
                          <a:pt x="4466563" y="341463"/>
                          <a:pt x="4485841" y="702837"/>
                        </a:cubicBezTo>
                        <a:cubicBezTo>
                          <a:pt x="4533611" y="845302"/>
                          <a:pt x="4432755" y="1103243"/>
                          <a:pt x="4485841" y="1208864"/>
                        </a:cubicBezTo>
                        <a:cubicBezTo>
                          <a:pt x="4538927" y="1314485"/>
                          <a:pt x="4477789" y="1649172"/>
                          <a:pt x="4485841" y="1771116"/>
                        </a:cubicBezTo>
                        <a:cubicBezTo>
                          <a:pt x="4493893" y="1893060"/>
                          <a:pt x="4450271" y="2184675"/>
                          <a:pt x="4485841" y="2333368"/>
                        </a:cubicBezTo>
                        <a:cubicBezTo>
                          <a:pt x="4521411" y="2482061"/>
                          <a:pt x="4447469" y="2629944"/>
                          <a:pt x="4485841" y="2867508"/>
                        </a:cubicBezTo>
                        <a:cubicBezTo>
                          <a:pt x="4524213" y="3105072"/>
                          <a:pt x="4446409" y="3313430"/>
                          <a:pt x="4485841" y="3514098"/>
                        </a:cubicBezTo>
                        <a:cubicBezTo>
                          <a:pt x="4496330" y="3889242"/>
                          <a:pt x="4109219" y="4192986"/>
                          <a:pt x="3783004" y="4216935"/>
                        </a:cubicBezTo>
                        <a:cubicBezTo>
                          <a:pt x="3664904" y="4222734"/>
                          <a:pt x="3373884" y="4216849"/>
                          <a:pt x="3269643" y="4216935"/>
                        </a:cubicBezTo>
                        <a:cubicBezTo>
                          <a:pt x="3165402" y="4217021"/>
                          <a:pt x="2980315" y="4168994"/>
                          <a:pt x="2694678" y="4216935"/>
                        </a:cubicBezTo>
                        <a:cubicBezTo>
                          <a:pt x="2409042" y="4264876"/>
                          <a:pt x="2340730" y="4173799"/>
                          <a:pt x="2181317" y="4216935"/>
                        </a:cubicBezTo>
                        <a:cubicBezTo>
                          <a:pt x="2021904" y="4260071"/>
                          <a:pt x="1900773" y="4195431"/>
                          <a:pt x="1760361" y="4216935"/>
                        </a:cubicBezTo>
                        <a:cubicBezTo>
                          <a:pt x="1619949" y="4238439"/>
                          <a:pt x="1424486" y="4194196"/>
                          <a:pt x="1308603" y="4216935"/>
                        </a:cubicBezTo>
                        <a:cubicBezTo>
                          <a:pt x="1192720" y="4239674"/>
                          <a:pt x="936750" y="4153641"/>
                          <a:pt x="702837" y="4216935"/>
                        </a:cubicBezTo>
                        <a:cubicBezTo>
                          <a:pt x="324586" y="4214837"/>
                          <a:pt x="1771" y="3919084"/>
                          <a:pt x="0" y="3514098"/>
                        </a:cubicBezTo>
                        <a:cubicBezTo>
                          <a:pt x="-48940" y="3262440"/>
                          <a:pt x="41589" y="3238493"/>
                          <a:pt x="0" y="3008071"/>
                        </a:cubicBezTo>
                        <a:cubicBezTo>
                          <a:pt x="-41589" y="2777649"/>
                          <a:pt x="38803" y="2670079"/>
                          <a:pt x="0" y="2530157"/>
                        </a:cubicBezTo>
                        <a:cubicBezTo>
                          <a:pt x="-38803" y="2390235"/>
                          <a:pt x="14977" y="2164964"/>
                          <a:pt x="0" y="2052242"/>
                        </a:cubicBezTo>
                        <a:cubicBezTo>
                          <a:pt x="-14977" y="1939520"/>
                          <a:pt x="45063" y="1624621"/>
                          <a:pt x="0" y="1489990"/>
                        </a:cubicBezTo>
                        <a:cubicBezTo>
                          <a:pt x="-45063" y="1355359"/>
                          <a:pt x="91104" y="939259"/>
                          <a:pt x="0" y="702837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vert="vert270" rtlCol="0" anchor="t"/>
          <a:lstStyle/>
          <a:p>
            <a:pPr marL="0" marR="0" lvl="0" indent="0" algn="ctr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Hybrid Configuration</a:t>
            </a:r>
          </a:p>
          <a:p>
            <a:pPr marL="0" marR="0" lvl="0" indent="0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A5C249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A5C249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A5C249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6E04115-FF32-2774-90F7-E6630C616A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52803" y="5207331"/>
            <a:ext cx="685800" cy="800100"/>
          </a:xfrm>
          <a:prstGeom prst="rect">
            <a:avLst/>
          </a:prstGeom>
        </p:spPr>
      </p:pic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FF19A621-C23B-5A5C-68A9-6E433946FE51}"/>
              </a:ext>
            </a:extLst>
          </p:cNvPr>
          <p:cNvSpPr/>
          <p:nvPr/>
        </p:nvSpPr>
        <p:spPr>
          <a:xfrm>
            <a:off x="6335226" y="3610397"/>
            <a:ext cx="5412035" cy="1398276"/>
          </a:xfrm>
          <a:prstGeom prst="roundRect">
            <a:avLst/>
          </a:prstGeom>
          <a:noFill/>
          <a:ln w="9525" cap="flat" cmpd="sng" algn="ctr">
            <a:solidFill>
              <a:srgbClr val="0F6FC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rtlCol="0" anchor="b"/>
          <a:lstStyle/>
          <a:p>
            <a:pPr marL="0" marR="0" lvl="0" indent="0" algn="ctr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F6FC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erimeter Network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37B30935-3E7C-AC80-F386-AABCE172874B}"/>
              </a:ext>
            </a:extLst>
          </p:cNvPr>
          <p:cNvGrpSpPr/>
          <p:nvPr/>
        </p:nvGrpSpPr>
        <p:grpSpPr>
          <a:xfrm>
            <a:off x="6335226" y="440086"/>
            <a:ext cx="5737200" cy="2085504"/>
            <a:chOff x="6390641" y="455675"/>
            <a:chExt cx="5737200" cy="2085504"/>
          </a:xfrm>
        </p:grpSpPr>
        <p:sp>
          <p:nvSpPr>
            <p:cNvPr id="12" name="Rechteck: abgerundete Ecken 11">
              <a:extLst>
                <a:ext uri="{FF2B5EF4-FFF2-40B4-BE49-F238E27FC236}">
                  <a16:creationId xmlns:a16="http://schemas.microsoft.com/office/drawing/2014/main" id="{7343ECFF-D903-8307-2572-ED39D5B5D6BD}"/>
                </a:ext>
              </a:extLst>
            </p:cNvPr>
            <p:cNvSpPr/>
            <p:nvPr/>
          </p:nvSpPr>
          <p:spPr>
            <a:xfrm>
              <a:off x="6390641" y="1104265"/>
              <a:ext cx="5412035" cy="1436914"/>
            </a:xfrm>
            <a:prstGeom prst="roundRect">
              <a:avLst/>
            </a:prstGeom>
            <a:noFill/>
            <a:ln w="9525" cap="flat" cmpd="sng" algn="ctr">
              <a:solidFill>
                <a:srgbClr val="0F6FC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t"/>
            <a:lstStyle/>
            <a:p>
              <a:pPr marL="0" marR="0" lvl="0" indent="0" defTabSz="914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F6FC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Microsoft 365</a:t>
              </a:r>
            </a:p>
          </p:txBody>
        </p:sp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22B5160A-931F-FC65-5587-65329842A6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485594" y="455675"/>
              <a:ext cx="1642247" cy="1026404"/>
            </a:xfrm>
            <a:prstGeom prst="rect">
              <a:avLst/>
            </a:prstGeom>
          </p:spPr>
        </p:pic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E33C4D22-470A-AC33-E3A8-B15B57DB0E2A}"/>
                </a:ext>
              </a:extLst>
            </p:cNvPr>
            <p:cNvGrpSpPr/>
            <p:nvPr/>
          </p:nvGrpSpPr>
          <p:grpSpPr>
            <a:xfrm>
              <a:off x="6532874" y="1913171"/>
              <a:ext cx="3580287" cy="541110"/>
              <a:chOff x="8008278" y="2677302"/>
              <a:chExt cx="3580287" cy="541110"/>
            </a:xfrm>
          </p:grpSpPr>
          <p:pic>
            <p:nvPicPr>
              <p:cNvPr id="16" name="Grafik 15">
                <a:extLst>
                  <a:ext uri="{FF2B5EF4-FFF2-40B4-BE49-F238E27FC236}">
                    <a16:creationId xmlns:a16="http://schemas.microsoft.com/office/drawing/2014/main" id="{EA683AAA-09FB-45D2-6ACD-C1152A86D67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8708742" y="2806767"/>
                <a:ext cx="381000" cy="342900"/>
              </a:xfrm>
              <a:prstGeom prst="rect">
                <a:avLst/>
              </a:prstGeom>
            </p:spPr>
          </p:pic>
          <p:sp>
            <p:nvSpPr>
              <p:cNvPr id="17" name="Rechteck: abgerundete Ecken 16">
                <a:extLst>
                  <a:ext uri="{FF2B5EF4-FFF2-40B4-BE49-F238E27FC236}">
                    <a16:creationId xmlns:a16="http://schemas.microsoft.com/office/drawing/2014/main" id="{E08146F5-3D92-0802-8FB7-A246DBF73BDA}"/>
                  </a:ext>
                </a:extLst>
              </p:cNvPr>
              <p:cNvSpPr/>
              <p:nvPr/>
            </p:nvSpPr>
            <p:spPr>
              <a:xfrm>
                <a:off x="8008278" y="2677302"/>
                <a:ext cx="3580287" cy="541110"/>
              </a:xfrm>
              <a:prstGeom prst="roundRect">
                <a:avLst/>
              </a:prstGeom>
              <a:noFill/>
              <a:ln w="9525" cap="flat" cmpd="sng" algn="ctr">
                <a:solidFill>
                  <a:srgbClr val="0F6FC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F6FC6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Exchange Online</a:t>
                </a:r>
              </a:p>
            </p:txBody>
          </p:sp>
        </p:grpSp>
        <p:sp>
          <p:nvSpPr>
            <p:cNvPr id="15" name="Rechteck: abgerundete Ecken 14">
              <a:extLst>
                <a:ext uri="{FF2B5EF4-FFF2-40B4-BE49-F238E27FC236}">
                  <a16:creationId xmlns:a16="http://schemas.microsoft.com/office/drawing/2014/main" id="{849D1EE5-AA70-7E54-39D3-9E86685CCF1B}"/>
                </a:ext>
              </a:extLst>
            </p:cNvPr>
            <p:cNvSpPr/>
            <p:nvPr/>
          </p:nvSpPr>
          <p:spPr>
            <a:xfrm>
              <a:off x="10113161" y="1913171"/>
              <a:ext cx="1500582" cy="534912"/>
            </a:xfrm>
            <a:prstGeom prst="roundRect">
              <a:avLst/>
            </a:prstGeom>
            <a:noFill/>
            <a:ln w="9525" cap="flat" cmpd="sng" algn="ctr">
              <a:solidFill>
                <a:srgbClr val="0F6FC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F6FC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Azure AD</a:t>
              </a:r>
            </a:p>
          </p:txBody>
        </p:sp>
      </p:grp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EA2A3640-EC35-3C13-FDB8-E09DB397FA9B}"/>
              </a:ext>
            </a:extLst>
          </p:cNvPr>
          <p:cNvCxnSpPr>
            <a:cxnSpLocks/>
          </p:cNvCxnSpPr>
          <p:nvPr/>
        </p:nvCxnSpPr>
        <p:spPr>
          <a:xfrm flipV="1">
            <a:off x="10776287" y="2432495"/>
            <a:ext cx="0" cy="2774836"/>
          </a:xfrm>
          <a:prstGeom prst="straightConnector1">
            <a:avLst/>
          </a:prstGeom>
          <a:noFill/>
          <a:ln w="38100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pic>
        <p:nvPicPr>
          <p:cNvPr id="19" name="Grafik 18">
            <a:extLst>
              <a:ext uri="{FF2B5EF4-FFF2-40B4-BE49-F238E27FC236}">
                <a16:creationId xmlns:a16="http://schemas.microsoft.com/office/drawing/2014/main" id="{DFE3D392-45C8-841B-6F92-B6D04839EAB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53379" y="3879961"/>
            <a:ext cx="771525" cy="752475"/>
          </a:xfrm>
          <a:prstGeom prst="rect">
            <a:avLst/>
          </a:prstGeom>
        </p:spPr>
      </p:pic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F2CC574A-F1ED-A648-D63B-1E26DC2C5BDC}"/>
              </a:ext>
            </a:extLst>
          </p:cNvPr>
          <p:cNvCxnSpPr>
            <a:cxnSpLocks/>
          </p:cNvCxnSpPr>
          <p:nvPr/>
        </p:nvCxnSpPr>
        <p:spPr>
          <a:xfrm flipV="1">
            <a:off x="9554656" y="2432494"/>
            <a:ext cx="0" cy="1501617"/>
          </a:xfrm>
          <a:prstGeom prst="straightConnector1">
            <a:avLst/>
          </a:prstGeom>
          <a:noFill/>
          <a:ln w="38100" cap="flat" cmpd="sng" algn="ctr">
            <a:solidFill>
              <a:schemeClr val="accent2"/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BB7741C7-51F4-A25D-3867-5997EA58C043}"/>
              </a:ext>
            </a:extLst>
          </p:cNvPr>
          <p:cNvSpPr/>
          <p:nvPr/>
        </p:nvSpPr>
        <p:spPr>
          <a:xfrm>
            <a:off x="6335226" y="5018918"/>
            <a:ext cx="5412035" cy="1536700"/>
          </a:xfrm>
          <a:prstGeom prst="roundRect">
            <a:avLst/>
          </a:prstGeom>
          <a:noFill/>
          <a:ln w="9525" cap="flat" cmpd="sng" algn="ctr">
            <a:solidFill>
              <a:srgbClr val="0F6FC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rtlCol="0" anchor="b"/>
          <a:lstStyle/>
          <a:p>
            <a:pPr marL="0" marR="0" lvl="0" indent="0" algn="ctr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F6FC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mapany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F6FC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Network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1EE3CC51-064A-2C66-4E55-8713DD547C8B}"/>
              </a:ext>
            </a:extLst>
          </p:cNvPr>
          <p:cNvCxnSpPr>
            <a:cxnSpLocks/>
          </p:cNvCxnSpPr>
          <p:nvPr/>
        </p:nvCxnSpPr>
        <p:spPr>
          <a:xfrm flipV="1">
            <a:off x="9561637" y="4581811"/>
            <a:ext cx="7748" cy="563879"/>
          </a:xfrm>
          <a:prstGeom prst="straightConnector1">
            <a:avLst/>
          </a:prstGeom>
          <a:noFill/>
          <a:ln w="38100" cap="flat" cmpd="sng" algn="ctr">
            <a:solidFill>
              <a:schemeClr val="accent2"/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50DF90CF-88A6-4DD6-04A2-0BFC9C0D6FF6}"/>
              </a:ext>
            </a:extLst>
          </p:cNvPr>
          <p:cNvCxnSpPr>
            <a:cxnSpLocks/>
          </p:cNvCxnSpPr>
          <p:nvPr/>
        </p:nvCxnSpPr>
        <p:spPr>
          <a:xfrm flipH="1" flipV="1">
            <a:off x="8950880" y="2432494"/>
            <a:ext cx="5805" cy="2713197"/>
          </a:xfrm>
          <a:prstGeom prst="straightConnector1">
            <a:avLst/>
          </a:prstGeom>
          <a:noFill/>
          <a:ln w="38100" cap="flat" cmpd="sng" algn="ctr">
            <a:solidFill>
              <a:schemeClr val="accent2"/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9289D762-B811-6B15-2BBA-5EC0BBC499CE}"/>
              </a:ext>
            </a:extLst>
          </p:cNvPr>
          <p:cNvCxnSpPr>
            <a:cxnSpLocks/>
          </p:cNvCxnSpPr>
          <p:nvPr/>
        </p:nvCxnSpPr>
        <p:spPr>
          <a:xfrm flipH="1" flipV="1">
            <a:off x="7191362" y="2565153"/>
            <a:ext cx="6413" cy="2585029"/>
          </a:xfrm>
          <a:prstGeom prst="straightConnector1">
            <a:avLst/>
          </a:prstGeom>
          <a:noFill/>
          <a:ln w="38100" cap="flat" cmpd="sng" algn="ctr">
            <a:solidFill>
              <a:schemeClr val="accent5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pic>
        <p:nvPicPr>
          <p:cNvPr id="25" name="Grafik 24">
            <a:extLst>
              <a:ext uri="{FF2B5EF4-FFF2-40B4-BE49-F238E27FC236}">
                <a16:creationId xmlns:a16="http://schemas.microsoft.com/office/drawing/2014/main" id="{C42E9D43-F7DB-73C7-B9E1-668C9120FEAE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rgbClr val="7CCA62">
                <a:lumMod val="50000"/>
                <a:tint val="45000"/>
                <a:satMod val="400000"/>
              </a:srgbClr>
            </a:duotone>
          </a:blip>
          <a:stretch>
            <a:fillRect/>
          </a:stretch>
        </p:blipFill>
        <p:spPr>
          <a:xfrm>
            <a:off x="7047272" y="2285944"/>
            <a:ext cx="301005" cy="305497"/>
          </a:xfrm>
          <a:prstGeom prst="rect">
            <a:avLst/>
          </a:prstGeom>
        </p:spPr>
      </p:pic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813FDBD-387B-1D4D-00F0-B0317EDFCD42}"/>
              </a:ext>
            </a:extLst>
          </p:cNvPr>
          <p:cNvGrpSpPr/>
          <p:nvPr/>
        </p:nvGrpSpPr>
        <p:grpSpPr>
          <a:xfrm>
            <a:off x="6477458" y="5145690"/>
            <a:ext cx="3762869" cy="1099821"/>
            <a:chOff x="6532873" y="5161279"/>
            <a:chExt cx="3762869" cy="1099821"/>
          </a:xfrm>
        </p:grpSpPr>
        <p:pic>
          <p:nvPicPr>
            <p:cNvPr id="27" name="Grafik 26">
              <a:extLst>
                <a:ext uri="{FF2B5EF4-FFF2-40B4-BE49-F238E27FC236}">
                  <a16:creationId xmlns:a16="http://schemas.microsoft.com/office/drawing/2014/main" id="{F3A89D4D-E122-231C-6E04-401B4B65F9A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022646" y="5237208"/>
              <a:ext cx="771525" cy="752475"/>
            </a:xfrm>
            <a:prstGeom prst="rect">
              <a:avLst/>
            </a:prstGeom>
          </p:spPr>
        </p:pic>
        <p:pic>
          <p:nvPicPr>
            <p:cNvPr id="28" name="Grafik 27">
              <a:extLst>
                <a:ext uri="{FF2B5EF4-FFF2-40B4-BE49-F238E27FC236}">
                  <a16:creationId xmlns:a16="http://schemas.microsoft.com/office/drawing/2014/main" id="{69AC8BA4-8EED-6289-B0FB-C87629C9807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196670" y="5222920"/>
              <a:ext cx="809625" cy="781050"/>
            </a:xfrm>
            <a:prstGeom prst="rect">
              <a:avLst/>
            </a:prstGeom>
          </p:spPr>
        </p:pic>
        <p:pic>
          <p:nvPicPr>
            <p:cNvPr id="29" name="Grafik 28">
              <a:extLst>
                <a:ext uri="{FF2B5EF4-FFF2-40B4-BE49-F238E27FC236}">
                  <a16:creationId xmlns:a16="http://schemas.microsoft.com/office/drawing/2014/main" id="{B361C1C7-78AB-EE8A-3AF0-7905ABEE509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408794" y="5237208"/>
              <a:ext cx="809625" cy="781050"/>
            </a:xfrm>
            <a:prstGeom prst="rect">
              <a:avLst/>
            </a:prstGeom>
          </p:spPr>
        </p:pic>
        <p:sp>
          <p:nvSpPr>
            <p:cNvPr id="30" name="Rechteck: abgerundete Ecken 29">
              <a:extLst>
                <a:ext uri="{FF2B5EF4-FFF2-40B4-BE49-F238E27FC236}">
                  <a16:creationId xmlns:a16="http://schemas.microsoft.com/office/drawing/2014/main" id="{AA24CCB1-0EDC-759B-0D73-301920178DEA}"/>
                </a:ext>
              </a:extLst>
            </p:cNvPr>
            <p:cNvSpPr/>
            <p:nvPr/>
          </p:nvSpPr>
          <p:spPr>
            <a:xfrm>
              <a:off x="6532873" y="5161279"/>
              <a:ext cx="3762869" cy="1099821"/>
            </a:xfrm>
            <a:prstGeom prst="roundRect">
              <a:avLst/>
            </a:prstGeom>
            <a:noFill/>
            <a:ln w="9525" cap="flat" cmpd="sng" algn="ctr">
              <a:solidFill>
                <a:srgbClr val="0F6FC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b"/>
            <a:lstStyle/>
            <a:p>
              <a:pPr marL="0" marR="0" lvl="0" indent="0" defTabSz="914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F6FC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On-Premises Exchange Organization</a:t>
              </a:r>
            </a:p>
          </p:txBody>
        </p:sp>
      </p:grpSp>
      <p:pic>
        <p:nvPicPr>
          <p:cNvPr id="31" name="Grafik 30">
            <a:extLst>
              <a:ext uri="{FF2B5EF4-FFF2-40B4-BE49-F238E27FC236}">
                <a16:creationId xmlns:a16="http://schemas.microsoft.com/office/drawing/2014/main" id="{DD635E37-3918-2271-40BC-6CCDCD10F8F3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rgbClr val="7CCA62">
                <a:lumMod val="50000"/>
                <a:tint val="45000"/>
                <a:satMod val="400000"/>
              </a:srgbClr>
            </a:duotone>
          </a:blip>
          <a:stretch>
            <a:fillRect/>
          </a:stretch>
        </p:blipFill>
        <p:spPr>
          <a:xfrm>
            <a:off x="8395564" y="5698604"/>
            <a:ext cx="301005" cy="305497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A97ACD74-ACF0-6C71-6B25-C2D0A6DC68EB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rgbClr val="7CCA62">
                <a:lumMod val="50000"/>
                <a:tint val="45000"/>
                <a:satMod val="400000"/>
              </a:srgbClr>
            </a:duotone>
          </a:blip>
          <a:stretch>
            <a:fillRect/>
          </a:stretch>
        </p:blipFill>
        <p:spPr>
          <a:xfrm>
            <a:off x="7223676" y="5695600"/>
            <a:ext cx="301005" cy="305497"/>
          </a:xfrm>
          <a:prstGeom prst="rect">
            <a:avLst/>
          </a:prstGeom>
        </p:spPr>
      </p:pic>
      <p:sp>
        <p:nvSpPr>
          <p:cNvPr id="33" name="Textfeld 32">
            <a:extLst>
              <a:ext uri="{FF2B5EF4-FFF2-40B4-BE49-F238E27FC236}">
                <a16:creationId xmlns:a16="http://schemas.microsoft.com/office/drawing/2014/main" id="{B5559D6C-1616-FD00-42AD-09AD61168AE9}"/>
              </a:ext>
            </a:extLst>
          </p:cNvPr>
          <p:cNvSpPr txBox="1"/>
          <p:nvPr/>
        </p:nvSpPr>
        <p:spPr>
          <a:xfrm rot="16200000">
            <a:off x="6977231" y="2929732"/>
            <a:ext cx="1021556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-7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</a:rPr>
              <a:t>HTTPS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6102F44A-91FE-D563-A4AC-879C1F602CAA}"/>
              </a:ext>
            </a:extLst>
          </p:cNvPr>
          <p:cNvSpPr txBox="1"/>
          <p:nvPr/>
        </p:nvSpPr>
        <p:spPr>
          <a:xfrm rot="16200000">
            <a:off x="8732872" y="2949364"/>
            <a:ext cx="1021556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-7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SMTP</a:t>
            </a:r>
          </a:p>
        </p:txBody>
      </p: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B9E7ACC8-A4E9-9B8C-EE13-D1F42A6238F3}"/>
              </a:ext>
            </a:extLst>
          </p:cNvPr>
          <p:cNvCxnSpPr>
            <a:cxnSpLocks/>
          </p:cNvCxnSpPr>
          <p:nvPr/>
        </p:nvCxnSpPr>
        <p:spPr>
          <a:xfrm flipH="1" flipV="1">
            <a:off x="7737371" y="2427974"/>
            <a:ext cx="5805" cy="2713197"/>
          </a:xfrm>
          <a:prstGeom prst="straightConnector1">
            <a:avLst/>
          </a:prstGeom>
          <a:noFill/>
          <a:ln w="38100" cap="flat" cmpd="sng" algn="ctr">
            <a:solidFill>
              <a:schemeClr val="accent5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pic>
        <p:nvPicPr>
          <p:cNvPr id="36" name="Grafik 35" descr="Marke 1">
            <a:extLst>
              <a:ext uri="{FF2B5EF4-FFF2-40B4-BE49-F238E27FC236}">
                <a16:creationId xmlns:a16="http://schemas.microsoft.com/office/drawing/2014/main" id="{CE4F1001-8675-E6F4-333A-94C369BB7CB8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446185" y="2238089"/>
            <a:ext cx="213168" cy="213168"/>
          </a:xfrm>
          <a:prstGeom prst="rect">
            <a:avLst/>
          </a:prstGeom>
        </p:spPr>
      </p:pic>
      <p:pic>
        <p:nvPicPr>
          <p:cNvPr id="37" name="Grafik 36" descr="Abzeichen">
            <a:extLst>
              <a:ext uri="{FF2B5EF4-FFF2-40B4-BE49-F238E27FC236}">
                <a16:creationId xmlns:a16="http://schemas.microsoft.com/office/drawing/2014/main" id="{988F306A-2061-1940-AF49-0242830C07DB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848630" y="2235677"/>
            <a:ext cx="215444" cy="215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8037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00"/>
                            </p:stCondLst>
                            <p:childTnLst>
                              <p:par>
                                <p:cTn id="40" presetID="26" presetClass="emph" presetSubtype="0" repeatCount="3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500" tmFilter="0, 0; .2, .5; .8, .5; 1, 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2" dur="250" autoRev="1" fill="hold"/>
                                        <p:tgtEl>
                                          <p:spTgt spid="3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43" presetID="26" presetClass="emph" presetSubtype="0" repeatCount="3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500" tmFilter="0, 0; .2, .5; .8, .5; 1, 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5" dur="250" autoRev="1" fill="hold"/>
                                        <p:tgtEl>
                                          <p:spTgt spid="3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46" presetID="26" presetClass="emph" presetSubtype="0" repeatCount="3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" dur="500" tmFilter="0, 0; .2, .5; .8, .5; 1, 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8" dur="250" autoRev="1" fill="hold"/>
                                        <p:tgtEl>
                                          <p:spTgt spid="2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33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BBBDB9D-8F03-37BC-D710-AB0A65E46A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Differences</a:t>
            </a:r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B94085CC-569F-29E1-0226-AABDB27F873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216327" y="1576684"/>
            <a:ext cx="10629900" cy="4695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495E338F-610D-F026-71F9-59547078E9F3}"/>
              </a:ext>
            </a:extLst>
          </p:cNvPr>
          <p:cNvGrpSpPr/>
          <p:nvPr/>
        </p:nvGrpSpPr>
        <p:grpSpPr>
          <a:xfrm>
            <a:off x="1213152" y="1597322"/>
            <a:ext cx="10629901" cy="915988"/>
            <a:chOff x="1213152" y="1262782"/>
            <a:chExt cx="10629901" cy="915988"/>
          </a:xfrm>
          <a:solidFill>
            <a:schemeClr val="tx2"/>
          </a:solidFill>
        </p:grpSpPr>
        <p:sp>
          <p:nvSpPr>
            <p:cNvPr id="7" name="Rectangle 5">
              <a:extLst>
                <a:ext uri="{FF2B5EF4-FFF2-40B4-BE49-F238E27FC236}">
                  <a16:creationId xmlns:a16="http://schemas.microsoft.com/office/drawing/2014/main" id="{6DEDC6C7-E337-07A9-5320-E95B84B435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3152" y="1262782"/>
              <a:ext cx="2541588" cy="91598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" name="Rectangle 6">
              <a:extLst>
                <a:ext uri="{FF2B5EF4-FFF2-40B4-BE49-F238E27FC236}">
                  <a16:creationId xmlns:a16="http://schemas.microsoft.com/office/drawing/2014/main" id="{D7665738-83A0-029C-57F8-7F5C38D279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54740" y="1262782"/>
              <a:ext cx="8088313" cy="9159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" name="Rectangle 15">
              <a:extLst>
                <a:ext uri="{FF2B5EF4-FFF2-40B4-BE49-F238E27FC236}">
                  <a16:creationId xmlns:a16="http://schemas.microsoft.com/office/drawing/2014/main" id="{B4EC9A6D-128E-F543-794D-077F30119E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8402" y="1292944"/>
              <a:ext cx="415178" cy="27699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de-DE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</a:rPr>
                <a:t>Full</a:t>
              </a:r>
              <a:endParaRPr kumimoji="0" lang="en-US" alt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0" name="Rectangle 16">
              <a:extLst>
                <a:ext uri="{FF2B5EF4-FFF2-40B4-BE49-F238E27FC236}">
                  <a16:creationId xmlns:a16="http://schemas.microsoft.com/office/drawing/2014/main" id="{18352732-AF4A-928A-9332-713D2A66F1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9990" y="1292944"/>
              <a:ext cx="7574189" cy="83099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</a:rPr>
                <a:t>Full classic hybrid configuration, Exchange server published to the</a:t>
              </a:r>
              <a:b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</a:rPr>
              </a:br>
              <a: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</a:rPr>
                <a:t>internet (SMTP/HTTPS)</a:t>
              </a:r>
              <a:b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</a:rPr>
              </a:br>
              <a: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  <a:sym typeface="Wingdings" panose="05000000000000000000" pitchFamily="2" charset="2"/>
                </a:rPr>
                <a:t> </a:t>
              </a:r>
              <a:r>
                <a:rPr kumimoji="0" lang="en-US" altLang="de-DE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  <a:sym typeface="Wingdings" panose="05000000000000000000" pitchFamily="2" charset="2"/>
                </a:rPr>
                <a:t>permanent</a:t>
              </a:r>
              <a: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  <a:sym typeface="Wingdings" panose="05000000000000000000" pitchFamily="2" charset="2"/>
                </a:rPr>
                <a:t> hybrid operation </a:t>
              </a:r>
              <a:r>
                <a:rPr kumimoji="0" lang="en-US" altLang="de-DE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  <a:sym typeface="Wingdings" panose="05000000000000000000" pitchFamily="2" charset="2"/>
                </a:rPr>
                <a:t>and</a:t>
              </a:r>
              <a: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  <a:sym typeface="Wingdings" panose="05000000000000000000" pitchFamily="2" charset="2"/>
                </a:rPr>
                <a:t> </a:t>
              </a:r>
              <a:r>
                <a:rPr kumimoji="0" lang="en-US" altLang="de-DE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  <a:sym typeface="Wingdings" panose="05000000000000000000" pitchFamily="2" charset="2"/>
                </a:rPr>
                <a:t>Teams access </a:t>
              </a:r>
              <a: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  <a:sym typeface="Wingdings" panose="05000000000000000000" pitchFamily="2" charset="2"/>
                </a:rPr>
                <a:t>to on-premises</a:t>
              </a:r>
              <a:endParaRPr kumimoji="0" lang="en-US" alt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FB6AB608-FCA3-D00E-F697-FF7A848AD46F}"/>
              </a:ext>
            </a:extLst>
          </p:cNvPr>
          <p:cNvGrpSpPr/>
          <p:nvPr/>
        </p:nvGrpSpPr>
        <p:grpSpPr>
          <a:xfrm>
            <a:off x="1213152" y="2513309"/>
            <a:ext cx="10629901" cy="917575"/>
            <a:chOff x="1213152" y="2178769"/>
            <a:chExt cx="10629901" cy="917575"/>
          </a:xfrm>
          <a:solidFill>
            <a:schemeClr val="accent2"/>
          </a:solidFill>
        </p:grpSpPr>
        <p:sp>
          <p:nvSpPr>
            <p:cNvPr id="12" name="Rectangle 7">
              <a:extLst>
                <a:ext uri="{FF2B5EF4-FFF2-40B4-BE49-F238E27FC236}">
                  <a16:creationId xmlns:a16="http://schemas.microsoft.com/office/drawing/2014/main" id="{7DC39B37-7FAE-90EA-DCBF-FA4DF727A4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3152" y="2178769"/>
              <a:ext cx="2541588" cy="9175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Rectangle 8">
              <a:extLst>
                <a:ext uri="{FF2B5EF4-FFF2-40B4-BE49-F238E27FC236}">
                  <a16:creationId xmlns:a16="http://schemas.microsoft.com/office/drawing/2014/main" id="{EF034562-79E2-F3C3-266C-06A239F788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54740" y="2178769"/>
              <a:ext cx="8088313" cy="9175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Rectangle 25">
              <a:extLst>
                <a:ext uri="{FF2B5EF4-FFF2-40B4-BE49-F238E27FC236}">
                  <a16:creationId xmlns:a16="http://schemas.microsoft.com/office/drawing/2014/main" id="{74BD3E1A-FF67-9D9E-4563-8FFBE1DDF8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8402" y="2208932"/>
              <a:ext cx="952184" cy="27699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de-DE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</a:rPr>
                <a:t>Minimal</a:t>
              </a:r>
              <a:endParaRPr kumimoji="0" lang="en-US" alt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5" name="Rectangle 16">
              <a:extLst>
                <a:ext uri="{FF2B5EF4-FFF2-40B4-BE49-F238E27FC236}">
                  <a16:creationId xmlns:a16="http://schemas.microsoft.com/office/drawing/2014/main" id="{812E0028-D9E2-6CBC-ECCB-8311338E5E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9990" y="2210518"/>
              <a:ext cx="6547305" cy="83099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</a:rPr>
                <a:t>Hybrid configuration, without rich coexistence to migrate</a:t>
              </a:r>
              <a:b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</a:rPr>
              </a:br>
              <a: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</a:rPr>
                <a:t>all on-premises mailboxes to Exchange Online</a:t>
              </a:r>
              <a:b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</a:rPr>
              </a:br>
              <a: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  <a:sym typeface="Wingdings" panose="05000000000000000000" pitchFamily="2" charset="2"/>
                </a:rPr>
                <a:t> </a:t>
              </a:r>
              <a:r>
                <a:rPr kumimoji="0" lang="en-US" altLang="de-DE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  <a:sym typeface="Wingdings" panose="05000000000000000000" pitchFamily="2" charset="2"/>
                </a:rPr>
                <a:t>temporary</a:t>
              </a:r>
              <a: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  <a:sym typeface="Wingdings" panose="05000000000000000000" pitchFamily="2" charset="2"/>
                </a:rPr>
                <a:t> hybrid operation for a </a:t>
              </a:r>
              <a:r>
                <a:rPr kumimoji="0" lang="en-US" altLang="de-DE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  <a:sym typeface="Wingdings" panose="05000000000000000000" pitchFamily="2" charset="2"/>
                </a:rPr>
                <a:t>few weeks / months</a:t>
              </a:r>
              <a:endParaRPr kumimoji="0" lang="en-US" alt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390F054F-97D8-AA15-D59F-D85F4238C60B}"/>
              </a:ext>
            </a:extLst>
          </p:cNvPr>
          <p:cNvGrpSpPr/>
          <p:nvPr/>
        </p:nvGrpSpPr>
        <p:grpSpPr>
          <a:xfrm>
            <a:off x="1213152" y="3430884"/>
            <a:ext cx="10629901" cy="915988"/>
            <a:chOff x="1213152" y="3096344"/>
            <a:chExt cx="10629901" cy="915988"/>
          </a:xfrm>
          <a:solidFill>
            <a:schemeClr val="accent1"/>
          </a:solidFill>
        </p:grpSpPr>
        <p:sp>
          <p:nvSpPr>
            <p:cNvPr id="17" name="Rectangle 9">
              <a:extLst>
                <a:ext uri="{FF2B5EF4-FFF2-40B4-BE49-F238E27FC236}">
                  <a16:creationId xmlns:a16="http://schemas.microsoft.com/office/drawing/2014/main" id="{85C9C709-A495-F933-C64A-086E12B82B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3152" y="3096344"/>
              <a:ext cx="2541588" cy="91598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Rectangle 10">
              <a:extLst>
                <a:ext uri="{FF2B5EF4-FFF2-40B4-BE49-F238E27FC236}">
                  <a16:creationId xmlns:a16="http://schemas.microsoft.com/office/drawing/2014/main" id="{A3376EDC-EEAA-F422-D76F-4EF0CECF75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54740" y="3096344"/>
              <a:ext cx="8088313" cy="91598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Rectangle 37">
              <a:extLst>
                <a:ext uri="{FF2B5EF4-FFF2-40B4-BE49-F238E27FC236}">
                  <a16:creationId xmlns:a16="http://schemas.microsoft.com/office/drawing/2014/main" id="{A4AFBC7B-AB63-B239-0C64-5B497EC3FC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8402" y="3128094"/>
              <a:ext cx="878895" cy="27699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de-DE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</a:rPr>
                <a:t>Express</a:t>
              </a:r>
              <a:endParaRPr kumimoji="0" lang="en-US" alt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0" name="Rectangle 16">
              <a:extLst>
                <a:ext uri="{FF2B5EF4-FFF2-40B4-BE49-F238E27FC236}">
                  <a16:creationId xmlns:a16="http://schemas.microsoft.com/office/drawing/2014/main" id="{95677BE2-95C8-F4BF-977E-4784CDA4A4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6815" y="3151173"/>
              <a:ext cx="7257949" cy="830997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</a:rPr>
                <a:t>Hybrid configuration, with Azure AD Connect Express settings, to </a:t>
              </a:r>
              <a:b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</a:rPr>
              </a:br>
              <a: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</a:rPr>
                <a:t>migrate all on-premises mailboxes to Exchange Online</a:t>
              </a:r>
              <a:b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</a:rPr>
              </a:br>
              <a: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  <a:sym typeface="Wingdings" panose="05000000000000000000" pitchFamily="2" charset="2"/>
                </a:rPr>
                <a:t> </a:t>
              </a:r>
              <a:r>
                <a:rPr kumimoji="0" lang="en-US" altLang="de-DE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  <a:sym typeface="Wingdings" panose="05000000000000000000" pitchFamily="2" charset="2"/>
                </a:rPr>
                <a:t>temporary</a:t>
              </a:r>
              <a: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  <a:sym typeface="Wingdings" panose="05000000000000000000" pitchFamily="2" charset="2"/>
                </a:rPr>
                <a:t> hybrid operation for a </a:t>
              </a:r>
              <a:r>
                <a:rPr kumimoji="0" lang="en-US" altLang="de-DE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  <a:sym typeface="Wingdings" panose="05000000000000000000" pitchFamily="2" charset="2"/>
                </a:rPr>
                <a:t>few days / weeks</a:t>
              </a:r>
              <a:endParaRPr kumimoji="0" lang="en-US" alt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</p:grp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A9BCF185-81D2-A6AE-88C8-536BDDF6A76D}"/>
              </a:ext>
            </a:extLst>
          </p:cNvPr>
          <p:cNvGrpSpPr/>
          <p:nvPr/>
        </p:nvGrpSpPr>
        <p:grpSpPr>
          <a:xfrm>
            <a:off x="1213152" y="4346872"/>
            <a:ext cx="10629901" cy="915988"/>
            <a:chOff x="1213152" y="4012332"/>
            <a:chExt cx="10629901" cy="915988"/>
          </a:xfrm>
          <a:solidFill>
            <a:schemeClr val="accent5">
              <a:lumMod val="75000"/>
            </a:schemeClr>
          </a:solidFill>
        </p:grpSpPr>
        <p:sp>
          <p:nvSpPr>
            <p:cNvPr id="22" name="Rectangle 11">
              <a:extLst>
                <a:ext uri="{FF2B5EF4-FFF2-40B4-BE49-F238E27FC236}">
                  <a16:creationId xmlns:a16="http://schemas.microsoft.com/office/drawing/2014/main" id="{4F627621-71DD-3BF6-D172-3875E82000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3152" y="4012332"/>
              <a:ext cx="2541588" cy="91598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Rectangle 12">
              <a:extLst>
                <a:ext uri="{FF2B5EF4-FFF2-40B4-BE49-F238E27FC236}">
                  <a16:creationId xmlns:a16="http://schemas.microsoft.com/office/drawing/2014/main" id="{BB468828-7C26-0C2E-5D50-2900577FF9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54740" y="4012332"/>
              <a:ext cx="8088313" cy="91598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Rectangle 49">
              <a:extLst>
                <a:ext uri="{FF2B5EF4-FFF2-40B4-BE49-F238E27FC236}">
                  <a16:creationId xmlns:a16="http://schemas.microsoft.com/office/drawing/2014/main" id="{9C253A7E-361D-C985-30CA-E2EE59827A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8402" y="4044082"/>
              <a:ext cx="415178" cy="27699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de-DE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</a:rPr>
                <a:t>Full</a:t>
              </a:r>
              <a:endParaRPr kumimoji="0" lang="en-US" alt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5" name="Rectangle 16">
              <a:extLst>
                <a:ext uri="{FF2B5EF4-FFF2-40B4-BE49-F238E27FC236}">
                  <a16:creationId xmlns:a16="http://schemas.microsoft.com/office/drawing/2014/main" id="{CDCACA33-1751-BEB7-03F2-9AAEBE0BC0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6815" y="4065573"/>
              <a:ext cx="7848302" cy="830997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</a:rPr>
                <a:t>Full Modern Hybrid configuration, for new hybrid setups based on</a:t>
              </a:r>
              <a:b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</a:rPr>
              </a:br>
              <a: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</a:rPr>
                <a:t>Hybrid Agent deployment, with reduced hybrid functionality</a:t>
              </a:r>
              <a:b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</a:rPr>
              </a:br>
              <a: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  <a:sym typeface="Wingdings" panose="05000000000000000000" pitchFamily="2" charset="2"/>
                </a:rPr>
                <a:t> </a:t>
              </a:r>
              <a:r>
                <a:rPr kumimoji="0" lang="en-US" altLang="de-DE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  <a:sym typeface="Wingdings" panose="05000000000000000000" pitchFamily="2" charset="2"/>
                </a:rPr>
                <a:t>permanent</a:t>
              </a:r>
              <a: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  <a:sym typeface="Wingdings" panose="05000000000000000000" pitchFamily="2" charset="2"/>
                </a:rPr>
                <a:t> hybrid operation </a:t>
              </a:r>
              <a:r>
                <a:rPr kumimoji="0" lang="en-US" altLang="de-DE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  <a:sym typeface="Wingdings" panose="05000000000000000000" pitchFamily="2" charset="2"/>
                </a:rPr>
                <a:t>without</a:t>
              </a:r>
              <a: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  <a:sym typeface="Wingdings" panose="05000000000000000000" pitchFamily="2" charset="2"/>
                </a:rPr>
                <a:t> </a:t>
              </a:r>
              <a:r>
                <a:rPr kumimoji="0" lang="en-US" altLang="de-DE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  <a:sym typeface="Wingdings" panose="05000000000000000000" pitchFamily="2" charset="2"/>
                </a:rPr>
                <a:t>Teams access </a:t>
              </a:r>
              <a: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  <a:sym typeface="Wingdings" panose="05000000000000000000" pitchFamily="2" charset="2"/>
                </a:rPr>
                <a:t>to on-premises</a:t>
              </a:r>
              <a:endParaRPr kumimoji="0" lang="en-US" alt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</p:grp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AC2E8CC7-D5ED-F1DF-FD53-067B42F9BDA1}"/>
              </a:ext>
            </a:extLst>
          </p:cNvPr>
          <p:cNvGrpSpPr/>
          <p:nvPr/>
        </p:nvGrpSpPr>
        <p:grpSpPr>
          <a:xfrm>
            <a:off x="1213152" y="5262859"/>
            <a:ext cx="10629901" cy="915988"/>
            <a:chOff x="1213152" y="4928319"/>
            <a:chExt cx="10629901" cy="915988"/>
          </a:xfrm>
          <a:solidFill>
            <a:schemeClr val="accent2"/>
          </a:solidFill>
        </p:grpSpPr>
        <p:sp>
          <p:nvSpPr>
            <p:cNvPr id="27" name="Rectangle 13">
              <a:extLst>
                <a:ext uri="{FF2B5EF4-FFF2-40B4-BE49-F238E27FC236}">
                  <a16:creationId xmlns:a16="http://schemas.microsoft.com/office/drawing/2014/main" id="{75D74350-60BA-EBB1-172E-1E45EE4471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3152" y="4928319"/>
              <a:ext cx="2541588" cy="9159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Rectangle 14">
              <a:extLst>
                <a:ext uri="{FF2B5EF4-FFF2-40B4-BE49-F238E27FC236}">
                  <a16:creationId xmlns:a16="http://schemas.microsoft.com/office/drawing/2014/main" id="{3E043127-C2D2-68A4-BCF0-73E3C8FAFD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54740" y="4928319"/>
              <a:ext cx="8088313" cy="9159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Rectangle 61">
              <a:extLst>
                <a:ext uri="{FF2B5EF4-FFF2-40B4-BE49-F238E27FC236}">
                  <a16:creationId xmlns:a16="http://schemas.microsoft.com/office/drawing/2014/main" id="{4505C13A-5D1D-8C2F-1494-18FCA2F39D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8402" y="4960069"/>
              <a:ext cx="952184" cy="27699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de-DE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</a:rPr>
                <a:t>Minimal</a:t>
              </a:r>
              <a:endParaRPr kumimoji="0" lang="en-US" alt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30" name="Rectangle 16">
              <a:extLst>
                <a:ext uri="{FF2B5EF4-FFF2-40B4-BE49-F238E27FC236}">
                  <a16:creationId xmlns:a16="http://schemas.microsoft.com/office/drawing/2014/main" id="{751EDA93-9FEB-096E-FEE7-AA66D0F8ED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6815" y="4970814"/>
              <a:ext cx="7484741" cy="83099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</a:rPr>
                <a:t>Modern Hybrid configuration, to migrate all on-premises mailboxes</a:t>
              </a:r>
              <a:b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</a:rPr>
              </a:br>
              <a: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</a:rPr>
                <a:t>to Exchange Online</a:t>
              </a:r>
              <a:b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</a:rPr>
              </a:br>
              <a: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  <a:sym typeface="Wingdings" panose="05000000000000000000" pitchFamily="2" charset="2"/>
                </a:rPr>
                <a:t> </a:t>
              </a:r>
              <a:r>
                <a:rPr kumimoji="0" lang="en-US" altLang="de-DE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  <a:sym typeface="Wingdings" panose="05000000000000000000" pitchFamily="2" charset="2"/>
                </a:rPr>
                <a:t>temporary</a:t>
              </a:r>
              <a: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  <a:sym typeface="Wingdings" panose="05000000000000000000" pitchFamily="2" charset="2"/>
                </a:rPr>
                <a:t> hybrid operation for a </a:t>
              </a:r>
              <a:r>
                <a:rPr kumimoji="0" lang="en-US" altLang="de-DE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  <a:sym typeface="Wingdings" panose="05000000000000000000" pitchFamily="2" charset="2"/>
                </a:rPr>
                <a:t>few weeks / months</a:t>
              </a:r>
              <a:endParaRPr kumimoji="0" lang="en-US" alt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</p:grpSp>
      <p:pic>
        <p:nvPicPr>
          <p:cNvPr id="3" name="Grafik 2">
            <a:extLst>
              <a:ext uri="{FF2B5EF4-FFF2-40B4-BE49-F238E27FC236}">
                <a16:creationId xmlns:a16="http://schemas.microsoft.com/office/drawing/2014/main" id="{0A7BED95-6C81-557A-277A-E3FC618D2A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6200000">
            <a:off x="-159122" y="4824605"/>
            <a:ext cx="1789479" cy="834011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DC83FF62-4EEC-11E2-7705-6802C0D248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6200000">
            <a:off x="-617667" y="2538962"/>
            <a:ext cx="2724835" cy="841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7695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3F0868-A04B-7DF5-4962-92FE28606B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omas Stensitzki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400383-F50B-D073-FEAB-F361ED84905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1825625"/>
            <a:ext cx="5961611" cy="4351338"/>
          </a:xfrm>
        </p:spPr>
        <p:txBody>
          <a:bodyPr/>
          <a:lstStyle/>
          <a:p>
            <a:pPr marL="0" lvl="0" indent="0">
              <a:buNone/>
            </a:pPr>
            <a:r>
              <a:rPr lang="en-GB" dirty="0"/>
              <a:t>MCT Regional Lead</a:t>
            </a:r>
          </a:p>
          <a:p>
            <a:pPr marL="0" lvl="0" indent="0">
              <a:buNone/>
            </a:pPr>
            <a:r>
              <a:rPr lang="en-GB" dirty="0"/>
              <a:t>MVP Microsoft 365 Apps &amp; Services</a:t>
            </a:r>
          </a:p>
          <a:p>
            <a:pPr marL="0" lvl="0" indent="0">
              <a:buNone/>
            </a:pPr>
            <a:r>
              <a:rPr lang="en-GB" dirty="0"/>
              <a:t>Author</a:t>
            </a:r>
          </a:p>
          <a:p>
            <a:pPr marL="0" lvl="0" indent="0">
              <a:buNone/>
            </a:pPr>
            <a:r>
              <a:rPr lang="en-GB" dirty="0"/>
              <a:t>Blogger</a:t>
            </a:r>
          </a:p>
          <a:p>
            <a:pPr marL="0" lvl="0" indent="0">
              <a:buNone/>
            </a:pPr>
            <a:endParaRPr lang="en-GB" dirty="0"/>
          </a:p>
          <a:p>
            <a:pPr marL="0" lvl="0" indent="0">
              <a:buNone/>
            </a:pPr>
            <a:endParaRPr lang="en-GB" dirty="0"/>
          </a:p>
          <a:p>
            <a:pPr marL="0" lvl="0" indent="0">
              <a:buNone/>
            </a:pPr>
            <a:endParaRPr lang="en-GB" dirty="0"/>
          </a:p>
          <a:p>
            <a:pPr marL="0" lvl="0" indent="0">
              <a:buNone/>
            </a:pPr>
            <a:r>
              <a:rPr lang="en-GB" dirty="0"/>
              <a:t>linktr.ee/stensitzki</a:t>
            </a:r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FFB45AF3-636B-82FB-1902-6569AA709B85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667" b="16667"/>
          <a:stretch/>
        </p:blipFill>
        <p:spPr>
          <a:xfrm>
            <a:off x="7160522" y="2273739"/>
            <a:ext cx="4193277" cy="2795518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909D7F2D-5075-A641-7A6F-05CF97B5B5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9004" y="4001294"/>
            <a:ext cx="1851660" cy="1851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293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A2319F-6B2E-F182-B997-D09D218AD2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n do we call it Exchange Hybrid?</a:t>
            </a: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727FCDE3-9717-EC35-8F1B-19A7BA0668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29218" y="4702018"/>
            <a:ext cx="781050" cy="755650"/>
          </a:xfrm>
          <a:prstGeom prst="rect">
            <a:avLst/>
          </a:prstGeom>
        </p:spPr>
      </p:pic>
      <p:sp>
        <p:nvSpPr>
          <p:cNvPr id="22" name="Rechteck: abgerundete Ecken 21">
            <a:extLst>
              <a:ext uri="{FF2B5EF4-FFF2-40B4-BE49-F238E27FC236}">
                <a16:creationId xmlns:a16="http://schemas.microsoft.com/office/drawing/2014/main" id="{D04FE445-AA37-24C7-7F4F-9323095EC82F}"/>
              </a:ext>
            </a:extLst>
          </p:cNvPr>
          <p:cNvSpPr/>
          <p:nvPr/>
        </p:nvSpPr>
        <p:spPr>
          <a:xfrm>
            <a:off x="7193282" y="4577238"/>
            <a:ext cx="4364990" cy="1005210"/>
          </a:xfrm>
          <a:prstGeom prst="roundRect">
            <a:avLst/>
          </a:prstGeom>
          <a:noFill/>
          <a:ln w="9525" cap="flat" cmpd="sng" algn="ctr">
            <a:solidFill>
              <a:srgbClr val="0F6FC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rtlCol="0" anchor="b"/>
          <a:lstStyle/>
          <a:p>
            <a:pPr marL="0" marR="0" lvl="0" indent="0" algn="ctr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F6FC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mpany Network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E9ADE36E-01D8-67C7-9B58-2CF3E862D431}"/>
              </a:ext>
            </a:extLst>
          </p:cNvPr>
          <p:cNvGrpSpPr/>
          <p:nvPr/>
        </p:nvGrpSpPr>
        <p:grpSpPr>
          <a:xfrm>
            <a:off x="10216897" y="1976071"/>
            <a:ext cx="1341374" cy="857600"/>
            <a:chOff x="3657346" y="1967912"/>
            <a:chExt cx="1341374" cy="857600"/>
          </a:xfrm>
        </p:grpSpPr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8CAA6708-B005-6C70-1BCB-59CB4E46C11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57346" y="1967912"/>
              <a:ext cx="1341374" cy="857600"/>
            </a:xfrm>
            <a:prstGeom prst="rect">
              <a:avLst/>
            </a:prstGeom>
          </p:spPr>
        </p:pic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B1651326-EC27-5CF2-8BC3-3DE37C8CA4C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131183" y="2312543"/>
              <a:ext cx="393700" cy="349250"/>
            </a:xfrm>
            <a:prstGeom prst="rect">
              <a:avLst/>
            </a:prstGeom>
          </p:spPr>
        </p:pic>
      </p:grpSp>
      <p:cxnSp>
        <p:nvCxnSpPr>
          <p:cNvPr id="26" name="Gerade Verbindung mit Pfeil 13">
            <a:extLst>
              <a:ext uri="{FF2B5EF4-FFF2-40B4-BE49-F238E27FC236}">
                <a16:creationId xmlns:a16="http://schemas.microsoft.com/office/drawing/2014/main" id="{70C97E8E-AE84-6E3B-9AB4-701988696BA7}"/>
              </a:ext>
            </a:extLst>
          </p:cNvPr>
          <p:cNvCxnSpPr>
            <a:cxnSpLocks/>
            <a:endCxn id="24" idx="1"/>
          </p:cNvCxnSpPr>
          <p:nvPr/>
        </p:nvCxnSpPr>
        <p:spPr>
          <a:xfrm>
            <a:off x="8551546" y="2404871"/>
            <a:ext cx="1665351" cy="0"/>
          </a:xfrm>
          <a:prstGeom prst="straightConnector1">
            <a:avLst/>
          </a:prstGeom>
          <a:ln w="38100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13">
            <a:extLst>
              <a:ext uri="{FF2B5EF4-FFF2-40B4-BE49-F238E27FC236}">
                <a16:creationId xmlns:a16="http://schemas.microsoft.com/office/drawing/2014/main" id="{38286CF7-6DFE-5968-6B3B-1EA9196E3CDB}"/>
              </a:ext>
            </a:extLst>
          </p:cNvPr>
          <p:cNvCxnSpPr>
            <a:cxnSpLocks/>
            <a:stCxn id="24" idx="2"/>
            <a:endCxn id="21" idx="3"/>
          </p:cNvCxnSpPr>
          <p:nvPr/>
        </p:nvCxnSpPr>
        <p:spPr>
          <a:xfrm rot="5400000">
            <a:off x="9325840" y="3518099"/>
            <a:ext cx="2246172" cy="877316"/>
          </a:xfrm>
          <a:prstGeom prst="bentConnector2">
            <a:avLst/>
          </a:prstGeom>
          <a:ln w="38100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9DA09585-4319-6B05-3CE5-62FDF2AC113A}"/>
              </a:ext>
            </a:extLst>
          </p:cNvPr>
          <p:cNvGrpSpPr/>
          <p:nvPr/>
        </p:nvGrpSpPr>
        <p:grpSpPr>
          <a:xfrm>
            <a:off x="7193281" y="1984230"/>
            <a:ext cx="1341374" cy="857600"/>
            <a:chOff x="633730" y="1976071"/>
            <a:chExt cx="1341374" cy="857600"/>
          </a:xfrm>
        </p:grpSpPr>
        <p:pic>
          <p:nvPicPr>
            <p:cNvPr id="29" name="Grafik 28">
              <a:extLst>
                <a:ext uri="{FF2B5EF4-FFF2-40B4-BE49-F238E27FC236}">
                  <a16:creationId xmlns:a16="http://schemas.microsoft.com/office/drawing/2014/main" id="{E5C2CE2C-8999-1F7C-C374-AE18BAC63E9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33730" y="1976071"/>
              <a:ext cx="1341374" cy="857600"/>
            </a:xfrm>
            <a:prstGeom prst="rect">
              <a:avLst/>
            </a:prstGeom>
          </p:spPr>
        </p:pic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9EF1305D-BDE8-BBEC-926A-3B7F02E51F16}"/>
                </a:ext>
              </a:extLst>
            </p:cNvPr>
            <p:cNvSpPr txBox="1"/>
            <p:nvPr/>
          </p:nvSpPr>
          <p:spPr>
            <a:xfrm>
              <a:off x="650621" y="2346294"/>
              <a:ext cx="130759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/>
                <a:t>Internet</a:t>
              </a:r>
            </a:p>
          </p:txBody>
        </p:sp>
      </p:grpSp>
      <p:sp>
        <p:nvSpPr>
          <p:cNvPr id="31" name="Inhaltsplatzhalter 2">
            <a:extLst>
              <a:ext uri="{FF2B5EF4-FFF2-40B4-BE49-F238E27FC236}">
                <a16:creationId xmlns:a16="http://schemas.microsoft.com/office/drawing/2014/main" id="{609208FD-CE7D-7254-48BB-6D6C6D9BAFE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1825625"/>
            <a:ext cx="5477765" cy="4351338"/>
          </a:xfrm>
        </p:spPr>
        <p:txBody>
          <a:bodyPr/>
          <a:lstStyle/>
          <a:p>
            <a:r>
              <a:rPr lang="en-US" dirty="0"/>
              <a:t>HCW configured inbound email delivery to Exchange Online</a:t>
            </a:r>
          </a:p>
          <a:p>
            <a:r>
              <a:rPr lang="en-US" dirty="0"/>
              <a:t>Exchange on-premises receives inbound messages from Exchange Online only</a:t>
            </a:r>
          </a:p>
          <a:p>
            <a:r>
              <a:rPr lang="en-US" dirty="0"/>
              <a:t>Direct Exchange Server to Exchange Online connectivity</a:t>
            </a:r>
          </a:p>
          <a:p>
            <a:endParaRPr lang="en-US" dirty="0"/>
          </a:p>
          <a:p>
            <a:r>
              <a:rPr lang="en-US" dirty="0"/>
              <a:t>Exchange Hybrid </a:t>
            </a:r>
          </a:p>
        </p:txBody>
      </p:sp>
      <p:pic>
        <p:nvPicPr>
          <p:cNvPr id="32" name="Grafik 31" descr="Häkchen mit einfarbiger Füllung">
            <a:extLst>
              <a:ext uri="{FF2B5EF4-FFF2-40B4-BE49-F238E27FC236}">
                <a16:creationId xmlns:a16="http://schemas.microsoft.com/office/drawing/2014/main" id="{33FEFDE0-F21F-7A37-EC83-655C301028E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58921" y="5291458"/>
            <a:ext cx="581980" cy="581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065536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uiExpand="1" build="p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A2319F-6B2E-F182-B997-D09D218AD2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n do we call it Exchange Hybrid?</a:t>
            </a: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89DA9212-06F5-14EB-AFCE-562BFF48AD20}"/>
              </a:ext>
            </a:extLst>
          </p:cNvPr>
          <p:cNvCxnSpPr>
            <a:cxnSpLocks/>
            <a:stCxn id="29" idx="2"/>
            <a:endCxn id="21" idx="1"/>
          </p:cNvCxnSpPr>
          <p:nvPr/>
        </p:nvCxnSpPr>
        <p:spPr>
          <a:xfrm rot="16200000" flipH="1">
            <a:off x="7427587" y="3278211"/>
            <a:ext cx="2238013" cy="1365250"/>
          </a:xfrm>
          <a:prstGeom prst="bentConnector2">
            <a:avLst/>
          </a:prstGeom>
          <a:ln w="38100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21" name="Grafik 20">
            <a:extLst>
              <a:ext uri="{FF2B5EF4-FFF2-40B4-BE49-F238E27FC236}">
                <a16:creationId xmlns:a16="http://schemas.microsoft.com/office/drawing/2014/main" id="{727FCDE3-9717-EC35-8F1B-19A7BA0668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29218" y="4702018"/>
            <a:ext cx="781050" cy="755650"/>
          </a:xfrm>
          <a:prstGeom prst="rect">
            <a:avLst/>
          </a:prstGeom>
        </p:spPr>
      </p:pic>
      <p:sp>
        <p:nvSpPr>
          <p:cNvPr id="22" name="Rechteck: abgerundete Ecken 21">
            <a:extLst>
              <a:ext uri="{FF2B5EF4-FFF2-40B4-BE49-F238E27FC236}">
                <a16:creationId xmlns:a16="http://schemas.microsoft.com/office/drawing/2014/main" id="{D04FE445-AA37-24C7-7F4F-9323095EC82F}"/>
              </a:ext>
            </a:extLst>
          </p:cNvPr>
          <p:cNvSpPr/>
          <p:nvPr/>
        </p:nvSpPr>
        <p:spPr>
          <a:xfrm>
            <a:off x="7193282" y="4577238"/>
            <a:ext cx="4364990" cy="1005210"/>
          </a:xfrm>
          <a:prstGeom prst="roundRect">
            <a:avLst/>
          </a:prstGeom>
          <a:noFill/>
          <a:ln w="9525" cap="flat" cmpd="sng" algn="ctr">
            <a:solidFill>
              <a:srgbClr val="0F6FC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rtlCol="0" anchor="b"/>
          <a:lstStyle/>
          <a:p>
            <a:pPr marL="0" marR="0" lvl="0" indent="0" algn="ctr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F6FC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mpany Network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E9ADE36E-01D8-67C7-9B58-2CF3E862D431}"/>
              </a:ext>
            </a:extLst>
          </p:cNvPr>
          <p:cNvGrpSpPr/>
          <p:nvPr/>
        </p:nvGrpSpPr>
        <p:grpSpPr>
          <a:xfrm>
            <a:off x="10216897" y="1976071"/>
            <a:ext cx="1341374" cy="857600"/>
            <a:chOff x="3657346" y="1967912"/>
            <a:chExt cx="1341374" cy="857600"/>
          </a:xfrm>
        </p:grpSpPr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8CAA6708-B005-6C70-1BCB-59CB4E46C11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57346" y="1967912"/>
              <a:ext cx="1341374" cy="857600"/>
            </a:xfrm>
            <a:prstGeom prst="rect">
              <a:avLst/>
            </a:prstGeom>
          </p:spPr>
        </p:pic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B1651326-EC27-5CF2-8BC3-3DE37C8CA4C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131183" y="2312543"/>
              <a:ext cx="393700" cy="349250"/>
            </a:xfrm>
            <a:prstGeom prst="rect">
              <a:avLst/>
            </a:prstGeom>
          </p:spPr>
        </p:pic>
      </p:grpSp>
      <p:cxnSp>
        <p:nvCxnSpPr>
          <p:cNvPr id="27" name="Gerade Verbindung mit Pfeil 13">
            <a:extLst>
              <a:ext uri="{FF2B5EF4-FFF2-40B4-BE49-F238E27FC236}">
                <a16:creationId xmlns:a16="http://schemas.microsoft.com/office/drawing/2014/main" id="{38286CF7-6DFE-5968-6B3B-1EA9196E3CDB}"/>
              </a:ext>
            </a:extLst>
          </p:cNvPr>
          <p:cNvCxnSpPr>
            <a:cxnSpLocks/>
            <a:stCxn id="24" idx="2"/>
            <a:endCxn id="21" idx="3"/>
          </p:cNvCxnSpPr>
          <p:nvPr/>
        </p:nvCxnSpPr>
        <p:spPr>
          <a:xfrm rot="5400000">
            <a:off x="9325840" y="3518099"/>
            <a:ext cx="2246172" cy="877316"/>
          </a:xfrm>
          <a:prstGeom prst="bentConnector2">
            <a:avLst/>
          </a:prstGeom>
          <a:ln w="38100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9DA09585-4319-6B05-3CE5-62FDF2AC113A}"/>
              </a:ext>
            </a:extLst>
          </p:cNvPr>
          <p:cNvGrpSpPr/>
          <p:nvPr/>
        </p:nvGrpSpPr>
        <p:grpSpPr>
          <a:xfrm>
            <a:off x="7193281" y="1984230"/>
            <a:ext cx="1341374" cy="857600"/>
            <a:chOff x="633730" y="1976071"/>
            <a:chExt cx="1341374" cy="857600"/>
          </a:xfrm>
        </p:grpSpPr>
        <p:pic>
          <p:nvPicPr>
            <p:cNvPr id="29" name="Grafik 28">
              <a:extLst>
                <a:ext uri="{FF2B5EF4-FFF2-40B4-BE49-F238E27FC236}">
                  <a16:creationId xmlns:a16="http://schemas.microsoft.com/office/drawing/2014/main" id="{E5C2CE2C-8999-1F7C-C374-AE18BAC63E9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33730" y="1976071"/>
              <a:ext cx="1341374" cy="857600"/>
            </a:xfrm>
            <a:prstGeom prst="rect">
              <a:avLst/>
            </a:prstGeom>
          </p:spPr>
        </p:pic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9EF1305D-BDE8-BBEC-926A-3B7F02E51F16}"/>
                </a:ext>
              </a:extLst>
            </p:cNvPr>
            <p:cNvSpPr txBox="1"/>
            <p:nvPr/>
          </p:nvSpPr>
          <p:spPr>
            <a:xfrm>
              <a:off x="650621" y="2346294"/>
              <a:ext cx="130759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/>
                <a:t>Internet</a:t>
              </a:r>
            </a:p>
          </p:txBody>
        </p:sp>
      </p:grpSp>
      <p:sp>
        <p:nvSpPr>
          <p:cNvPr id="39" name="Inhaltsplatzhalter 2">
            <a:extLst>
              <a:ext uri="{FF2B5EF4-FFF2-40B4-BE49-F238E27FC236}">
                <a16:creationId xmlns:a16="http://schemas.microsoft.com/office/drawing/2014/main" id="{767480F7-7FE9-1E94-9017-5EBBDEE3A48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334000" cy="4351338"/>
          </a:xfrm>
        </p:spPr>
        <p:txBody>
          <a:bodyPr/>
          <a:lstStyle/>
          <a:p>
            <a:r>
              <a:rPr lang="en-US" dirty="0"/>
              <a:t>HCW configured inbound email delivery to Exchange on-premises</a:t>
            </a:r>
          </a:p>
          <a:p>
            <a:r>
              <a:rPr lang="en-US" dirty="0"/>
              <a:t>Exchange Online receives inbound messages from Exchange on-premises only</a:t>
            </a:r>
          </a:p>
          <a:p>
            <a:r>
              <a:rPr lang="en-US" dirty="0"/>
              <a:t>Direct Exchange Server to Exchange Online connectivity </a:t>
            </a:r>
          </a:p>
          <a:p>
            <a:endParaRPr lang="en-US" dirty="0"/>
          </a:p>
          <a:p>
            <a:r>
              <a:rPr lang="en-US" dirty="0"/>
              <a:t>Exchange Hybrid </a:t>
            </a:r>
          </a:p>
        </p:txBody>
      </p:sp>
      <p:pic>
        <p:nvPicPr>
          <p:cNvPr id="40" name="Grafik 39" descr="Häkchen mit einfarbiger Füllung">
            <a:extLst>
              <a:ext uri="{FF2B5EF4-FFF2-40B4-BE49-F238E27FC236}">
                <a16:creationId xmlns:a16="http://schemas.microsoft.com/office/drawing/2014/main" id="{1045E55D-E058-4BD2-82B8-D1FD14F3486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58921" y="5291458"/>
            <a:ext cx="581980" cy="581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166855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uiExpand="1" build="p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A2319F-6B2E-F182-B997-D09D218AD2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n do we call it Exchange Hybrid?</a:t>
            </a: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89DA9212-06F5-14EB-AFCE-562BFF48AD20}"/>
              </a:ext>
            </a:extLst>
          </p:cNvPr>
          <p:cNvCxnSpPr>
            <a:cxnSpLocks/>
            <a:stCxn id="29" idx="2"/>
            <a:endCxn id="21" idx="1"/>
          </p:cNvCxnSpPr>
          <p:nvPr/>
        </p:nvCxnSpPr>
        <p:spPr>
          <a:xfrm rot="16200000" flipH="1">
            <a:off x="7427587" y="3278211"/>
            <a:ext cx="2238013" cy="1365250"/>
          </a:xfrm>
          <a:prstGeom prst="bentConnector2">
            <a:avLst/>
          </a:prstGeom>
          <a:ln w="38100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21" name="Grafik 20">
            <a:extLst>
              <a:ext uri="{FF2B5EF4-FFF2-40B4-BE49-F238E27FC236}">
                <a16:creationId xmlns:a16="http://schemas.microsoft.com/office/drawing/2014/main" id="{727FCDE3-9717-EC35-8F1B-19A7BA06682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19268" y="4702018"/>
            <a:ext cx="600950" cy="755650"/>
          </a:xfrm>
          <a:prstGeom prst="rect">
            <a:avLst/>
          </a:prstGeom>
        </p:spPr>
      </p:pic>
      <p:sp>
        <p:nvSpPr>
          <p:cNvPr id="22" name="Rechteck: abgerundete Ecken 21">
            <a:extLst>
              <a:ext uri="{FF2B5EF4-FFF2-40B4-BE49-F238E27FC236}">
                <a16:creationId xmlns:a16="http://schemas.microsoft.com/office/drawing/2014/main" id="{D04FE445-AA37-24C7-7F4F-9323095EC82F}"/>
              </a:ext>
            </a:extLst>
          </p:cNvPr>
          <p:cNvSpPr/>
          <p:nvPr/>
        </p:nvSpPr>
        <p:spPr>
          <a:xfrm>
            <a:off x="7193282" y="4577238"/>
            <a:ext cx="4364990" cy="1005210"/>
          </a:xfrm>
          <a:prstGeom prst="roundRect">
            <a:avLst/>
          </a:prstGeom>
          <a:noFill/>
          <a:ln w="9525" cap="flat" cmpd="sng" algn="ctr">
            <a:solidFill>
              <a:srgbClr val="0F6FC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rtlCol="0" anchor="b"/>
          <a:lstStyle/>
          <a:p>
            <a:pPr marL="0" marR="0" lvl="0" indent="0" algn="ctr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F6FC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mpany Network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E9ADE36E-01D8-67C7-9B58-2CF3E862D431}"/>
              </a:ext>
            </a:extLst>
          </p:cNvPr>
          <p:cNvGrpSpPr/>
          <p:nvPr/>
        </p:nvGrpSpPr>
        <p:grpSpPr>
          <a:xfrm>
            <a:off x="10216897" y="1976071"/>
            <a:ext cx="1341374" cy="857600"/>
            <a:chOff x="3657346" y="1967912"/>
            <a:chExt cx="1341374" cy="857600"/>
          </a:xfrm>
        </p:grpSpPr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8CAA6708-B005-6C70-1BCB-59CB4E46C11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57346" y="1967912"/>
              <a:ext cx="1341374" cy="857600"/>
            </a:xfrm>
            <a:prstGeom prst="rect">
              <a:avLst/>
            </a:prstGeom>
          </p:spPr>
        </p:pic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B1651326-EC27-5CF2-8BC3-3DE37C8CA4C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131183" y="2312543"/>
              <a:ext cx="393700" cy="349250"/>
            </a:xfrm>
            <a:prstGeom prst="rect">
              <a:avLst/>
            </a:prstGeom>
          </p:spPr>
        </p:pic>
      </p:grpSp>
      <p:cxnSp>
        <p:nvCxnSpPr>
          <p:cNvPr id="27" name="Gerade Verbindung mit Pfeil 13">
            <a:extLst>
              <a:ext uri="{FF2B5EF4-FFF2-40B4-BE49-F238E27FC236}">
                <a16:creationId xmlns:a16="http://schemas.microsoft.com/office/drawing/2014/main" id="{38286CF7-6DFE-5968-6B3B-1EA9196E3CDB}"/>
              </a:ext>
            </a:extLst>
          </p:cNvPr>
          <p:cNvCxnSpPr>
            <a:cxnSpLocks/>
            <a:stCxn id="24" idx="2"/>
            <a:endCxn id="21" idx="3"/>
          </p:cNvCxnSpPr>
          <p:nvPr/>
        </p:nvCxnSpPr>
        <p:spPr>
          <a:xfrm rot="5400000">
            <a:off x="9325840" y="3518099"/>
            <a:ext cx="2246172" cy="877316"/>
          </a:xfrm>
          <a:prstGeom prst="bentConnector2">
            <a:avLst/>
          </a:prstGeom>
          <a:ln w="38100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9DA09585-4319-6B05-3CE5-62FDF2AC113A}"/>
              </a:ext>
            </a:extLst>
          </p:cNvPr>
          <p:cNvGrpSpPr/>
          <p:nvPr/>
        </p:nvGrpSpPr>
        <p:grpSpPr>
          <a:xfrm>
            <a:off x="7193281" y="1984230"/>
            <a:ext cx="1341374" cy="857600"/>
            <a:chOff x="633730" y="1976071"/>
            <a:chExt cx="1341374" cy="857600"/>
          </a:xfrm>
        </p:grpSpPr>
        <p:pic>
          <p:nvPicPr>
            <p:cNvPr id="29" name="Grafik 28">
              <a:extLst>
                <a:ext uri="{FF2B5EF4-FFF2-40B4-BE49-F238E27FC236}">
                  <a16:creationId xmlns:a16="http://schemas.microsoft.com/office/drawing/2014/main" id="{E5C2CE2C-8999-1F7C-C374-AE18BAC63E9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33730" y="1976071"/>
              <a:ext cx="1341374" cy="857600"/>
            </a:xfrm>
            <a:prstGeom prst="rect">
              <a:avLst/>
            </a:prstGeom>
          </p:spPr>
        </p:pic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9EF1305D-BDE8-BBEC-926A-3B7F02E51F16}"/>
                </a:ext>
              </a:extLst>
            </p:cNvPr>
            <p:cNvSpPr txBox="1"/>
            <p:nvPr/>
          </p:nvSpPr>
          <p:spPr>
            <a:xfrm>
              <a:off x="650621" y="2346294"/>
              <a:ext cx="130759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/>
                <a:t>Internet</a:t>
              </a:r>
            </a:p>
          </p:txBody>
        </p:sp>
      </p:grpSp>
      <p:sp>
        <p:nvSpPr>
          <p:cNvPr id="39" name="Inhaltsplatzhalter 2">
            <a:extLst>
              <a:ext uri="{FF2B5EF4-FFF2-40B4-BE49-F238E27FC236}">
                <a16:creationId xmlns:a16="http://schemas.microsoft.com/office/drawing/2014/main" id="{767480F7-7FE9-1E94-9017-5EBBDEE3A48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334000" cy="4351338"/>
          </a:xfrm>
        </p:spPr>
        <p:txBody>
          <a:bodyPr/>
          <a:lstStyle/>
          <a:p>
            <a:r>
              <a:rPr lang="en-US" dirty="0"/>
              <a:t>Manual configuration of mail flow using a third-party on-premises mail system </a:t>
            </a:r>
          </a:p>
          <a:p>
            <a:endParaRPr lang="en-US" dirty="0"/>
          </a:p>
          <a:p>
            <a:r>
              <a:rPr lang="en-US" dirty="0"/>
              <a:t>No Exchange Hybrid </a:t>
            </a:r>
          </a:p>
        </p:txBody>
      </p:sp>
      <p:pic>
        <p:nvPicPr>
          <p:cNvPr id="18" name="Grafik 17" descr="Marke Kreuz mit einfarbiger Füllung">
            <a:extLst>
              <a:ext uri="{FF2B5EF4-FFF2-40B4-BE49-F238E27FC236}">
                <a16:creationId xmlns:a16="http://schemas.microsoft.com/office/drawing/2014/main" id="{017C4B7F-7E9C-3D9D-A8FB-50737DAEF26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064192" y="3560636"/>
            <a:ext cx="581980" cy="581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34294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uiExpand="1" build="p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A2319F-6B2E-F182-B997-D09D218AD2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n do we call it Exchange Hybrid?</a:t>
            </a: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89DA9212-06F5-14EB-AFCE-562BFF48AD20}"/>
              </a:ext>
            </a:extLst>
          </p:cNvPr>
          <p:cNvCxnSpPr>
            <a:cxnSpLocks/>
            <a:stCxn id="29" idx="2"/>
            <a:endCxn id="7" idx="0"/>
          </p:cNvCxnSpPr>
          <p:nvPr/>
        </p:nvCxnSpPr>
        <p:spPr>
          <a:xfrm>
            <a:off x="7863968" y="2841830"/>
            <a:ext cx="0" cy="1565767"/>
          </a:xfrm>
          <a:prstGeom prst="straightConnector1">
            <a:avLst/>
          </a:prstGeom>
          <a:ln w="38100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2" name="Rechteck: abgerundete Ecken 21">
            <a:extLst>
              <a:ext uri="{FF2B5EF4-FFF2-40B4-BE49-F238E27FC236}">
                <a16:creationId xmlns:a16="http://schemas.microsoft.com/office/drawing/2014/main" id="{D04FE445-AA37-24C7-7F4F-9323095EC82F}"/>
              </a:ext>
            </a:extLst>
          </p:cNvPr>
          <p:cNvSpPr/>
          <p:nvPr/>
        </p:nvSpPr>
        <p:spPr>
          <a:xfrm>
            <a:off x="7193282" y="4577238"/>
            <a:ext cx="4364990" cy="1005210"/>
          </a:xfrm>
          <a:prstGeom prst="roundRect">
            <a:avLst/>
          </a:prstGeom>
          <a:noFill/>
          <a:ln w="9525" cap="flat" cmpd="sng" algn="ctr">
            <a:solidFill>
              <a:srgbClr val="0F6FC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rtlCol="0" anchor="b"/>
          <a:lstStyle/>
          <a:p>
            <a:pPr marL="0" marR="0" lvl="0" indent="0" algn="ctr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F6FC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mpany Network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E9ADE36E-01D8-67C7-9B58-2CF3E862D431}"/>
              </a:ext>
            </a:extLst>
          </p:cNvPr>
          <p:cNvGrpSpPr/>
          <p:nvPr/>
        </p:nvGrpSpPr>
        <p:grpSpPr>
          <a:xfrm>
            <a:off x="10216897" y="1976071"/>
            <a:ext cx="1341374" cy="857600"/>
            <a:chOff x="3657346" y="1967912"/>
            <a:chExt cx="1341374" cy="857600"/>
          </a:xfrm>
        </p:grpSpPr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8CAA6708-B005-6C70-1BCB-59CB4E46C11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657346" y="1967912"/>
              <a:ext cx="1341374" cy="857600"/>
            </a:xfrm>
            <a:prstGeom prst="rect">
              <a:avLst/>
            </a:prstGeom>
          </p:spPr>
        </p:pic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B1651326-EC27-5CF2-8BC3-3DE37C8CA4C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131183" y="2312543"/>
              <a:ext cx="393700" cy="349250"/>
            </a:xfrm>
            <a:prstGeom prst="rect">
              <a:avLst/>
            </a:prstGeom>
          </p:spPr>
        </p:pic>
      </p:grpSp>
      <p:cxnSp>
        <p:nvCxnSpPr>
          <p:cNvPr id="27" name="Gerade Verbindung mit Pfeil 13">
            <a:extLst>
              <a:ext uri="{FF2B5EF4-FFF2-40B4-BE49-F238E27FC236}">
                <a16:creationId xmlns:a16="http://schemas.microsoft.com/office/drawing/2014/main" id="{38286CF7-6DFE-5968-6B3B-1EA9196E3CDB}"/>
              </a:ext>
            </a:extLst>
          </p:cNvPr>
          <p:cNvCxnSpPr>
            <a:cxnSpLocks/>
            <a:stCxn id="24" idx="2"/>
            <a:endCxn id="7" idx="3"/>
          </p:cNvCxnSpPr>
          <p:nvPr/>
        </p:nvCxnSpPr>
        <p:spPr>
          <a:xfrm flipH="1">
            <a:off x="8257668" y="2833671"/>
            <a:ext cx="2629916" cy="1751726"/>
          </a:xfrm>
          <a:prstGeom prst="straightConnector1">
            <a:avLst/>
          </a:prstGeom>
          <a:ln w="38100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9DA09585-4319-6B05-3CE5-62FDF2AC113A}"/>
              </a:ext>
            </a:extLst>
          </p:cNvPr>
          <p:cNvGrpSpPr/>
          <p:nvPr/>
        </p:nvGrpSpPr>
        <p:grpSpPr>
          <a:xfrm>
            <a:off x="7193281" y="1984230"/>
            <a:ext cx="1341374" cy="857600"/>
            <a:chOff x="633730" y="1976071"/>
            <a:chExt cx="1341374" cy="857600"/>
          </a:xfrm>
        </p:grpSpPr>
        <p:pic>
          <p:nvPicPr>
            <p:cNvPr id="29" name="Grafik 28">
              <a:extLst>
                <a:ext uri="{FF2B5EF4-FFF2-40B4-BE49-F238E27FC236}">
                  <a16:creationId xmlns:a16="http://schemas.microsoft.com/office/drawing/2014/main" id="{E5C2CE2C-8999-1F7C-C374-AE18BAC63E9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33730" y="1976071"/>
              <a:ext cx="1341374" cy="857600"/>
            </a:xfrm>
            <a:prstGeom prst="rect">
              <a:avLst/>
            </a:prstGeom>
          </p:spPr>
        </p:pic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9EF1305D-BDE8-BBEC-926A-3B7F02E51F16}"/>
                </a:ext>
              </a:extLst>
            </p:cNvPr>
            <p:cNvSpPr txBox="1"/>
            <p:nvPr/>
          </p:nvSpPr>
          <p:spPr>
            <a:xfrm>
              <a:off x="650621" y="2346294"/>
              <a:ext cx="130759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/>
                <a:t>Internet</a:t>
              </a:r>
            </a:p>
          </p:txBody>
        </p:sp>
      </p:grpSp>
      <p:sp>
        <p:nvSpPr>
          <p:cNvPr id="39" name="Inhaltsplatzhalter 2">
            <a:extLst>
              <a:ext uri="{FF2B5EF4-FFF2-40B4-BE49-F238E27FC236}">
                <a16:creationId xmlns:a16="http://schemas.microsoft.com/office/drawing/2014/main" id="{767480F7-7FE9-1E94-9017-5EBBDEE3A48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334000" cy="4351338"/>
          </a:xfrm>
        </p:spPr>
        <p:txBody>
          <a:bodyPr/>
          <a:lstStyle/>
          <a:p>
            <a:r>
              <a:rPr lang="en-US" dirty="0"/>
              <a:t>Email gateway solution handles mail flow between Exchange Online and external mail systems</a:t>
            </a:r>
          </a:p>
          <a:p>
            <a:r>
              <a:rPr lang="en-US" dirty="0"/>
              <a:t>On-Premises Exchange Server used for recipient management </a:t>
            </a:r>
          </a:p>
          <a:p>
            <a:endParaRPr lang="en-US" dirty="0"/>
          </a:p>
          <a:p>
            <a:r>
              <a:rPr lang="en-US" dirty="0"/>
              <a:t>No Exchange Hybrid </a:t>
            </a:r>
          </a:p>
        </p:txBody>
      </p:sp>
      <p:pic>
        <p:nvPicPr>
          <p:cNvPr id="4" name="Grafik 3" descr="Marke Kreuz mit einfarbiger Füllung">
            <a:extLst>
              <a:ext uri="{FF2B5EF4-FFF2-40B4-BE49-F238E27FC236}">
                <a16:creationId xmlns:a16="http://schemas.microsoft.com/office/drawing/2014/main" id="{5A20DF3E-B799-37F6-5CED-B5C902D90B7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64192" y="4415914"/>
            <a:ext cx="581980" cy="58198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C916CE25-17EA-46AC-00E3-C7C6716D52A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229218" y="4702018"/>
            <a:ext cx="781050" cy="75565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1B957D9F-D3ED-BD06-93FD-FD60D670113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70268" y="4407597"/>
            <a:ext cx="787400" cy="35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231245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uiExpand="1" build="p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5EED719B-D0B3-CA54-EDCE-BF3FC803E1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n you think of other "hybrid" options?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00C496E-860F-829C-5888-D0EEA3A381A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517458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6F75EA-BA65-86B5-5F78-2146F40657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stions?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EFC0DA1-019C-82F8-1A6B-D456403B649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GlowEdges/>
                    </a14:imgEffect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2948" y="1598495"/>
            <a:ext cx="4146104" cy="3661009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34936268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62A795-AAF1-319D-DC9F-6228E231F2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do you need Exchange Hybrid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87C40D-FB3A-794D-722F-A25C53C119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184100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E979D8B2-9A16-B19A-EBB9-D8DA3257C0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Exchange Hybrid?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666327E-0CC1-F468-C0E6-F356383B6A7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/>
              <a:t>Coexistence between an on-premises Exchange Organization and Exchange Online</a:t>
            </a:r>
          </a:p>
          <a:p>
            <a:r>
              <a:rPr lang="en-US" sz="2400" dirty="0"/>
              <a:t>Mailbox migration to and from Exchange Online</a:t>
            </a:r>
          </a:p>
          <a:p>
            <a:r>
              <a:rPr lang="en-US" sz="2400" dirty="0"/>
              <a:t>Seamless public folder migration to Exchange Online</a:t>
            </a:r>
          </a:p>
          <a:p>
            <a:r>
              <a:rPr lang="en-US" sz="2400" dirty="0"/>
              <a:t>Microsoft Teams with on-premises mailboxes (calendar access)</a:t>
            </a:r>
          </a:p>
          <a:p>
            <a:r>
              <a:rPr lang="en-US" sz="2400" dirty="0"/>
              <a:t>Transition from an on-premises Exchange Organization to Exchange Online</a:t>
            </a:r>
          </a:p>
          <a:p>
            <a:r>
              <a:rPr lang="en-US" sz="2400" dirty="0"/>
              <a:t>Optimal migration experience for end users</a:t>
            </a:r>
          </a:p>
          <a:p>
            <a:r>
              <a:rPr lang="en-US" sz="2400" dirty="0"/>
              <a:t>Offboarding from Exchange Online to an on-premises Exchange Organizat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9100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E979D8B2-9A16-B19A-EBB9-D8DA3257C0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Exchange Hybrid?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666327E-0CC1-F468-C0E6-F356383B6A7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/>
              <a:t>Centralized mail flow for use of on-premises email solutions with user mailboxes in Exchange Online</a:t>
            </a:r>
          </a:p>
          <a:p>
            <a:pPr lvl="1"/>
            <a:r>
              <a:rPr lang="en-US" sz="2000" dirty="0"/>
              <a:t>Gateway-based S/MIME decryption/encryption, email disclaimer, archiving, journaling, …</a:t>
            </a:r>
          </a:p>
          <a:p>
            <a:r>
              <a:rPr lang="en-US" sz="2400" dirty="0"/>
              <a:t>Hybrid mail flow providing email relay functionality for on-premises legacy applications and devices with</a:t>
            </a:r>
          </a:p>
          <a:p>
            <a:pPr lvl="1"/>
            <a:r>
              <a:rPr lang="en-US" sz="2000" dirty="0"/>
              <a:t>No access to the internet</a:t>
            </a:r>
          </a:p>
          <a:p>
            <a:pPr lvl="1"/>
            <a:r>
              <a:rPr lang="en-US" sz="2000" dirty="0"/>
              <a:t>No support for TLS protocols 1.0 or 1.1</a:t>
            </a:r>
          </a:p>
          <a:p>
            <a:pPr lvl="1"/>
            <a:r>
              <a:rPr lang="en-US" sz="2000" dirty="0"/>
              <a:t>No support for SMTPAUTH user authentication</a:t>
            </a:r>
          </a:p>
          <a:p>
            <a:pPr lvl="1"/>
            <a:r>
              <a:rPr lang="en-US" sz="2000" dirty="0"/>
              <a:t>No support for SMTP modern authenticat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63131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9F3CA6-18FC-B2AB-5561-E6F1918DDC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entralized Mail Flow</a:t>
            </a:r>
          </a:p>
        </p:txBody>
      </p:sp>
      <p:cxnSp>
        <p:nvCxnSpPr>
          <p:cNvPr id="4" name="Gerade Verbindung mit Pfeil 13">
            <a:extLst>
              <a:ext uri="{FF2B5EF4-FFF2-40B4-BE49-F238E27FC236}">
                <a16:creationId xmlns:a16="http://schemas.microsoft.com/office/drawing/2014/main" id="{6ADB9DC8-9018-BCCD-F002-78494E2C1B64}"/>
              </a:ext>
            </a:extLst>
          </p:cNvPr>
          <p:cNvCxnSpPr>
            <a:cxnSpLocks/>
            <a:stCxn id="12" idx="2"/>
            <a:endCxn id="5" idx="1"/>
          </p:cNvCxnSpPr>
          <p:nvPr/>
        </p:nvCxnSpPr>
        <p:spPr>
          <a:xfrm rot="16200000" flipH="1">
            <a:off x="3944167" y="1813839"/>
            <a:ext cx="2330342" cy="4201668"/>
          </a:xfrm>
          <a:prstGeom prst="bentConnector2">
            <a:avLst/>
          </a:prstGeom>
          <a:ln w="38100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5" name="Grafik 4">
            <a:extLst>
              <a:ext uri="{FF2B5EF4-FFF2-40B4-BE49-F238E27FC236}">
                <a16:creationId xmlns:a16="http://schemas.microsoft.com/office/drawing/2014/main" id="{30A8DC80-776F-E95E-8B4E-569B5DA106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10172" y="4702019"/>
            <a:ext cx="781050" cy="755650"/>
          </a:xfrm>
          <a:prstGeom prst="rect">
            <a:avLst/>
          </a:prstGeom>
        </p:spPr>
      </p:pic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8E94A85C-C163-666A-0CF9-4AA53F6A96C6}"/>
              </a:ext>
            </a:extLst>
          </p:cNvPr>
          <p:cNvSpPr/>
          <p:nvPr/>
        </p:nvSpPr>
        <p:spPr>
          <a:xfrm>
            <a:off x="2214244" y="4352544"/>
            <a:ext cx="7763512" cy="1912201"/>
          </a:xfrm>
          <a:prstGeom prst="roundRect">
            <a:avLst/>
          </a:prstGeom>
          <a:noFill/>
          <a:ln w="9525" cap="flat" cmpd="sng" algn="ctr">
            <a:solidFill>
              <a:srgbClr val="0F6FC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rtlCol="0" anchor="b"/>
          <a:lstStyle/>
          <a:p>
            <a:pPr marL="0" marR="0" lvl="0" indent="0" algn="ctr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F6FC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mpany Network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72B13695-B117-8D6C-3BA0-7E7A8ADBC984}"/>
              </a:ext>
            </a:extLst>
          </p:cNvPr>
          <p:cNvGrpSpPr/>
          <p:nvPr/>
        </p:nvGrpSpPr>
        <p:grpSpPr>
          <a:xfrm>
            <a:off x="8260081" y="2017991"/>
            <a:ext cx="1341374" cy="857600"/>
            <a:chOff x="3657346" y="1967912"/>
            <a:chExt cx="1341374" cy="857600"/>
          </a:xfrm>
        </p:grpSpPr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F0C84388-1433-A9E8-8591-0E478986DD7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57346" y="1967912"/>
              <a:ext cx="1341374" cy="857600"/>
            </a:xfrm>
            <a:prstGeom prst="rect">
              <a:avLst/>
            </a:prstGeom>
          </p:spPr>
        </p:pic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84070242-39E2-31D0-F207-BC123D27080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131183" y="2312543"/>
              <a:ext cx="393700" cy="349250"/>
            </a:xfrm>
            <a:prstGeom prst="rect">
              <a:avLst/>
            </a:prstGeom>
          </p:spPr>
        </p:pic>
      </p:grpSp>
      <p:cxnSp>
        <p:nvCxnSpPr>
          <p:cNvPr id="10" name="Gerade Verbindung mit Pfeil 13">
            <a:extLst>
              <a:ext uri="{FF2B5EF4-FFF2-40B4-BE49-F238E27FC236}">
                <a16:creationId xmlns:a16="http://schemas.microsoft.com/office/drawing/2014/main" id="{069B997C-8029-002D-58A9-4B2B302035A7}"/>
              </a:ext>
            </a:extLst>
          </p:cNvPr>
          <p:cNvCxnSpPr>
            <a:cxnSpLocks/>
            <a:stCxn id="8" idx="2"/>
            <a:endCxn id="5" idx="3"/>
          </p:cNvCxnSpPr>
          <p:nvPr/>
        </p:nvCxnSpPr>
        <p:spPr>
          <a:xfrm rot="5400000">
            <a:off x="7358869" y="3507944"/>
            <a:ext cx="2204253" cy="939546"/>
          </a:xfrm>
          <a:prstGeom prst="bentConnector2">
            <a:avLst/>
          </a:prstGeom>
          <a:ln w="38100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DEE94483-6A9B-7DFA-10D2-A9F8DC263113}"/>
              </a:ext>
            </a:extLst>
          </p:cNvPr>
          <p:cNvGrpSpPr/>
          <p:nvPr/>
        </p:nvGrpSpPr>
        <p:grpSpPr>
          <a:xfrm>
            <a:off x="2337817" y="1891902"/>
            <a:ext cx="1341374" cy="857600"/>
            <a:chOff x="633730" y="1976071"/>
            <a:chExt cx="1341374" cy="857600"/>
          </a:xfrm>
        </p:grpSpPr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DEF55736-735E-A51C-6435-9F427FE746B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33730" y="1976071"/>
              <a:ext cx="1341374" cy="857600"/>
            </a:xfrm>
            <a:prstGeom prst="rect">
              <a:avLst/>
            </a:prstGeom>
          </p:spPr>
        </p:pic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4CEFACFF-B1EA-0CA4-FB8E-4725D979CFFF}"/>
                </a:ext>
              </a:extLst>
            </p:cNvPr>
            <p:cNvSpPr txBox="1"/>
            <p:nvPr/>
          </p:nvSpPr>
          <p:spPr>
            <a:xfrm>
              <a:off x="650621" y="2346294"/>
              <a:ext cx="130759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/>
                <a:t>Internet</a:t>
              </a:r>
            </a:p>
          </p:txBody>
        </p:sp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FAB41F25-F7A8-A67C-1A0B-BA7F2A088E72}"/>
              </a:ext>
            </a:extLst>
          </p:cNvPr>
          <p:cNvGrpSpPr/>
          <p:nvPr/>
        </p:nvGrpSpPr>
        <p:grpSpPr>
          <a:xfrm>
            <a:off x="3376550" y="4692073"/>
            <a:ext cx="571500" cy="896469"/>
            <a:chOff x="4307332" y="3051175"/>
            <a:chExt cx="571500" cy="896469"/>
          </a:xfrm>
        </p:grpSpPr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35E476AB-621D-8D8B-F655-9A9597AD720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307332" y="3051175"/>
              <a:ext cx="431800" cy="755650"/>
            </a:xfrm>
            <a:prstGeom prst="rect">
              <a:avLst/>
            </a:prstGeom>
          </p:spPr>
        </p:pic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A8A4EFC9-E35E-107F-4BC9-2347675EAAF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523232" y="3503144"/>
              <a:ext cx="355600" cy="444500"/>
            </a:xfrm>
            <a:prstGeom prst="rect">
              <a:avLst/>
            </a:prstGeom>
          </p:spPr>
        </p:pic>
      </p:grp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69922C4B-63C9-798F-3164-E28AF34BDF63}"/>
              </a:ext>
            </a:extLst>
          </p:cNvPr>
          <p:cNvGrpSpPr/>
          <p:nvPr/>
        </p:nvGrpSpPr>
        <p:grpSpPr>
          <a:xfrm>
            <a:off x="4509517" y="4702019"/>
            <a:ext cx="647701" cy="826921"/>
            <a:chOff x="5880100" y="3051175"/>
            <a:chExt cx="647701" cy="826921"/>
          </a:xfrm>
        </p:grpSpPr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4442C783-19E5-CB9D-5BB1-13EEF3740C9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880100" y="3051175"/>
              <a:ext cx="431800" cy="755650"/>
            </a:xfrm>
            <a:prstGeom prst="rect">
              <a:avLst/>
            </a:prstGeom>
          </p:spPr>
        </p:pic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FEBF80E1-5455-FEB6-53D7-04EF0C2F285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096000" y="3549927"/>
              <a:ext cx="431801" cy="328169"/>
            </a:xfrm>
            <a:prstGeom prst="rect">
              <a:avLst/>
            </a:prstGeom>
          </p:spPr>
        </p:pic>
      </p:grpSp>
      <p:pic>
        <p:nvPicPr>
          <p:cNvPr id="35" name="Grafik 34">
            <a:extLst>
              <a:ext uri="{FF2B5EF4-FFF2-40B4-BE49-F238E27FC236}">
                <a16:creationId xmlns:a16="http://schemas.microsoft.com/office/drawing/2014/main" id="{E44F824A-E3C3-B43F-1341-62B55B1974E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60081" y="5466813"/>
            <a:ext cx="806450" cy="692150"/>
          </a:xfrm>
          <a:prstGeom prst="rect">
            <a:avLst/>
          </a:prstGeom>
        </p:spPr>
      </p:pic>
      <p:cxnSp>
        <p:nvCxnSpPr>
          <p:cNvPr id="36" name="Gerade Verbindung mit Pfeil 13">
            <a:extLst>
              <a:ext uri="{FF2B5EF4-FFF2-40B4-BE49-F238E27FC236}">
                <a16:creationId xmlns:a16="http://schemas.microsoft.com/office/drawing/2014/main" id="{039149C1-3335-404C-9367-F7A5D13C1045}"/>
              </a:ext>
            </a:extLst>
          </p:cNvPr>
          <p:cNvCxnSpPr>
            <a:cxnSpLocks/>
            <a:stCxn id="35" idx="1"/>
            <a:endCxn id="5" idx="2"/>
          </p:cNvCxnSpPr>
          <p:nvPr/>
        </p:nvCxnSpPr>
        <p:spPr>
          <a:xfrm rot="10800000">
            <a:off x="7600697" y="5457670"/>
            <a:ext cx="659384" cy="355219"/>
          </a:xfrm>
          <a:prstGeom prst="bentConnector2">
            <a:avLst/>
          </a:prstGeom>
          <a:ln w="38100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mit Pfeil 13">
            <a:extLst>
              <a:ext uri="{FF2B5EF4-FFF2-40B4-BE49-F238E27FC236}">
                <a16:creationId xmlns:a16="http://schemas.microsoft.com/office/drawing/2014/main" id="{C2748777-246E-A9AE-2FE9-4A60776E5226}"/>
              </a:ext>
            </a:extLst>
          </p:cNvPr>
          <p:cNvCxnSpPr>
            <a:cxnSpLocks/>
          </p:cNvCxnSpPr>
          <p:nvPr/>
        </p:nvCxnSpPr>
        <p:spPr>
          <a:xfrm flipV="1">
            <a:off x="6414311" y="5457669"/>
            <a:ext cx="1025016" cy="355514"/>
          </a:xfrm>
          <a:prstGeom prst="bentConnector2">
            <a:avLst/>
          </a:prstGeom>
          <a:ln w="38100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33" name="Grafik 32">
            <a:extLst>
              <a:ext uri="{FF2B5EF4-FFF2-40B4-BE49-F238E27FC236}">
                <a16:creationId xmlns:a16="http://schemas.microsoft.com/office/drawing/2014/main" id="{1E92AB4C-48A2-A8A9-836C-76B825942FB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858131" y="5390908"/>
            <a:ext cx="717550" cy="844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38243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500"/>
                            </p:stCondLst>
                            <p:childTnLst>
                              <p:par>
                                <p:cTn id="2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CAC670B6-1D40-3EA3-6BC5-AE73C42985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8CBD3AE-47B3-81EB-F790-5C87AF2038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33938"/>
            <a:ext cx="10515600" cy="4351338"/>
          </a:xfrm>
        </p:spPr>
        <p:txBody>
          <a:bodyPr/>
          <a:lstStyle/>
          <a:p>
            <a:r>
              <a:rPr lang="en-US" dirty="0"/>
              <a:t>Why do we talk about Exchange Hybrid?</a:t>
            </a:r>
          </a:p>
          <a:p>
            <a:r>
              <a:rPr lang="en-US" dirty="0"/>
              <a:t>What is Exchange Hybrid?</a:t>
            </a:r>
          </a:p>
          <a:p>
            <a:r>
              <a:rPr lang="en-US" dirty="0"/>
              <a:t>Why do you need Exchange Hybrid?</a:t>
            </a:r>
          </a:p>
          <a:p>
            <a:r>
              <a:rPr lang="en-US" dirty="0"/>
              <a:t>How do you  implement Exchange Hybrid?</a:t>
            </a:r>
          </a:p>
          <a:p>
            <a:r>
              <a:rPr lang="en-US" dirty="0"/>
              <a:t>Microsoft Teams and Exchange Server</a:t>
            </a:r>
          </a:p>
        </p:txBody>
      </p:sp>
    </p:spTree>
    <p:extLst>
      <p:ext uri="{BB962C8B-B14F-4D97-AF65-F5344CB8AC3E}">
        <p14:creationId xmlns:p14="http://schemas.microsoft.com/office/powerpoint/2010/main" val="24199925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6F75EA-BA65-86B5-5F78-2146F40657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stions?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EFC0DA1-019C-82F8-1A6B-D456403B649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GlowEdges/>
                    </a14:imgEffect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2948" y="1598495"/>
            <a:ext cx="4146104" cy="3661009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31469675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62A795-AAF1-319D-DC9F-6228E231F2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do you  implement</a:t>
            </a:r>
            <a:br>
              <a:rPr lang="en-US" dirty="0"/>
            </a:br>
            <a:r>
              <a:rPr lang="en-US" dirty="0"/>
              <a:t>Exchange Hybrid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87C40D-FB3A-794D-722F-A25C53C119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298317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BFC56389-E39D-C12F-3E85-2D7871C5A6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hange Hybrid Requirements</a:t>
            </a:r>
            <a:br>
              <a:rPr lang="en-US" dirty="0"/>
            </a:br>
            <a:endParaRPr lang="en-US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5DA666FB-D8B2-F0B3-BE41-0132EF55457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Know the differences of the Exchange hybrid variants and modes of operation available</a:t>
            </a:r>
          </a:p>
          <a:p>
            <a:r>
              <a:rPr lang="en-US" dirty="0"/>
              <a:t>Know the selected mode of operation for your Exchange organization and hybrid requirements</a:t>
            </a:r>
          </a:p>
          <a:p>
            <a:r>
              <a:rPr lang="en-US" dirty="0"/>
              <a:t>Have your on-premises Exchange organization ready for hybrid configuration</a:t>
            </a:r>
          </a:p>
          <a:p>
            <a:r>
              <a:rPr lang="en-US" dirty="0"/>
              <a:t>Install latest Exchange Server Cumulative Updates on all Exchange servers, including Edge Transport server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5918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BFC56389-E39D-C12F-3E85-2D7871C5A6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hange Hybrid Requirements</a:t>
            </a:r>
            <a:br>
              <a:rPr lang="en-US" dirty="0"/>
            </a:br>
            <a:endParaRPr lang="en-US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5DA666FB-D8B2-F0B3-BE41-0132EF55457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Have required IP addresses &amp; DNS hostnames for the Exchange namespace set up </a:t>
            </a:r>
          </a:p>
          <a:p>
            <a:r>
              <a:rPr lang="en-US" dirty="0"/>
              <a:t>Verify inbound connectivity to your Exchange organization using Microsoft Remote Connectivity Analyzer</a:t>
            </a:r>
          </a:p>
          <a:p>
            <a:pPr lvl="1"/>
            <a:r>
              <a:rPr lang="en-US" dirty="0">
                <a:hlinkClick r:id="rId3"/>
              </a:rPr>
              <a:t>https://testconnectivity.microsoft.com/</a:t>
            </a:r>
            <a:r>
              <a:rPr lang="en-US" dirty="0"/>
              <a:t> </a:t>
            </a:r>
          </a:p>
          <a:p>
            <a:r>
              <a:rPr lang="en-US" dirty="0"/>
              <a:t>Have Edge Transport TLS certificates installed on internal an Exchange Server  for selection by HCW, when using Edge</a:t>
            </a:r>
          </a:p>
          <a:p>
            <a:pPr lvl="1"/>
            <a:r>
              <a:rPr lang="en-US" dirty="0"/>
              <a:t>Do NOT enable this certificate for any Exchange service</a:t>
            </a:r>
          </a:p>
          <a:p>
            <a:r>
              <a:rPr lang="en-US" dirty="0"/>
              <a:t>Enable Exchange Hybrid option in Azure AD Connect first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759718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BF93A19-9C7B-511F-4F72-F0609D9D6B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ybrid Configuration Wizard</a:t>
            </a:r>
            <a:br>
              <a:rPr lang="en-US" dirty="0"/>
            </a:br>
            <a:endParaRPr lang="en-US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D1F049FB-C697-6A55-9DEE-1AD5ABA66EE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810246" cy="4351338"/>
          </a:xfrm>
        </p:spPr>
        <p:txBody>
          <a:bodyPr>
            <a:noAutofit/>
          </a:bodyPr>
          <a:lstStyle/>
          <a:p>
            <a:r>
              <a:rPr lang="en-US" sz="2400" dirty="0"/>
              <a:t>Click-2-Run Setup</a:t>
            </a:r>
          </a:p>
          <a:p>
            <a:pPr lvl="1"/>
            <a:r>
              <a:rPr lang="en-US" sz="1800" dirty="0"/>
              <a:t>https://aka.ms/HybridWizard </a:t>
            </a:r>
          </a:p>
          <a:p>
            <a:pPr lvl="1"/>
            <a:r>
              <a:rPr lang="en-US" sz="1800" dirty="0"/>
              <a:t>.application file type requires mapping to Internet Explorer</a:t>
            </a:r>
          </a:p>
          <a:p>
            <a:r>
              <a:rPr lang="en-US" sz="2400" dirty="0"/>
              <a:t>Note the HCW version information </a:t>
            </a:r>
          </a:p>
          <a:p>
            <a:pPr lvl="1"/>
            <a:r>
              <a:rPr lang="en-US" sz="1800" dirty="0"/>
              <a:t>Current: v17</a:t>
            </a:r>
          </a:p>
          <a:p>
            <a:r>
              <a:rPr lang="en-US" sz="2400" dirty="0"/>
              <a:t>HCW is updated regularly</a:t>
            </a:r>
          </a:p>
          <a:p>
            <a:pPr lvl="1"/>
            <a:r>
              <a:rPr lang="en-US" sz="1800" dirty="0"/>
              <a:t>HCW downloads a newer version automatically when started</a:t>
            </a:r>
          </a:p>
          <a:p>
            <a:r>
              <a:rPr lang="en-US" sz="2400" dirty="0"/>
              <a:t>HCW configuration steps vary depending on your Exchange Organization configuration </a:t>
            </a:r>
          </a:p>
          <a:p>
            <a:endParaRPr lang="en-US" sz="2400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23A75CF-D00C-043C-05A6-507B9E1A41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82855" y="1690688"/>
            <a:ext cx="6301658" cy="3973045"/>
          </a:xfrm>
          <a:prstGeom prst="rect">
            <a:avLst/>
          </a:prstGeom>
        </p:spPr>
      </p:pic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1E4950E7-1183-0AE3-F754-F03C2C2E5FF1}"/>
              </a:ext>
            </a:extLst>
          </p:cNvPr>
          <p:cNvSpPr/>
          <p:nvPr/>
        </p:nvSpPr>
        <p:spPr bwMode="auto">
          <a:xfrm>
            <a:off x="10269974" y="2111495"/>
            <a:ext cx="1710814" cy="540774"/>
          </a:xfrm>
          <a:prstGeom prst="roundRect">
            <a:avLst/>
          </a:prstGeom>
          <a:noFill/>
          <a:ln w="19050" cap="flat" cmpd="sng" algn="ctr">
            <a:solidFill>
              <a:schemeClr val="accent3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9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83032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  <p:bldP spid="8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BF93A19-9C7B-511F-4F72-F0609D9D6B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ybrid Configuration Wizard</a:t>
            </a:r>
            <a:br>
              <a:rPr lang="en-US" dirty="0"/>
            </a:br>
            <a:endParaRPr lang="en-US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D1F049FB-C697-6A55-9DEE-1AD5ABA66EE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966632" cy="4351338"/>
          </a:xfrm>
        </p:spPr>
        <p:txBody>
          <a:bodyPr>
            <a:normAutofit/>
          </a:bodyPr>
          <a:lstStyle/>
          <a:p>
            <a:r>
              <a:rPr lang="en-US" sz="2400" dirty="0"/>
              <a:t>HCW detects the optimal Exchange Server for configuration automatically</a:t>
            </a:r>
          </a:p>
          <a:p>
            <a:r>
              <a:rPr lang="en-US" sz="2400" dirty="0"/>
              <a:t>Specify a CAS server manually, if needed</a:t>
            </a:r>
          </a:p>
          <a:p>
            <a:r>
              <a:rPr lang="en-US" sz="2400" dirty="0"/>
              <a:t>Select the appropriate Office 365 target infrastructure</a:t>
            </a:r>
          </a:p>
          <a:p>
            <a:pPr lvl="1"/>
            <a:r>
              <a:rPr lang="en-US" sz="1800" dirty="0"/>
              <a:t>Office 365 Worldwide is the default for commercial customers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28F35B8C-FA97-B9E5-6671-E3F6931ABB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04832" y="1690688"/>
            <a:ext cx="6329102" cy="3675933"/>
          </a:xfrm>
          <a:prstGeom prst="rect">
            <a:avLst/>
          </a:prstGeom>
        </p:spPr>
      </p:pic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26D582C8-3B52-4913-9558-6ED4C4949A59}"/>
              </a:ext>
            </a:extLst>
          </p:cNvPr>
          <p:cNvSpPr/>
          <p:nvPr/>
        </p:nvSpPr>
        <p:spPr bwMode="auto">
          <a:xfrm>
            <a:off x="5929837" y="2683848"/>
            <a:ext cx="5348748" cy="1622323"/>
          </a:xfrm>
          <a:prstGeom prst="roundRect">
            <a:avLst/>
          </a:prstGeom>
          <a:noFill/>
          <a:ln w="19050" cap="flat" cmpd="sng" algn="ctr">
            <a:solidFill>
              <a:schemeClr val="accent3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9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04449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  <p:bldP spid="9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BF93A19-9C7B-511F-4F72-F0609D9D6B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ybrid Configuration Wizard</a:t>
            </a:r>
            <a:br>
              <a:rPr lang="en-US" dirty="0"/>
            </a:br>
            <a:endParaRPr lang="en-US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D1F049FB-C697-6A55-9DEE-1AD5ABA66EE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966632" cy="4351338"/>
          </a:xfrm>
        </p:spPr>
        <p:txBody>
          <a:bodyPr>
            <a:normAutofit/>
          </a:bodyPr>
          <a:lstStyle/>
          <a:p>
            <a:r>
              <a:rPr lang="en-US" sz="2400" dirty="0"/>
              <a:t>HCW connects to on-premises Exchange and Exchange Online to gather the current organizational configuration</a:t>
            </a:r>
          </a:p>
          <a:p>
            <a:pPr lvl="1"/>
            <a:r>
              <a:rPr lang="en-US" sz="1800" dirty="0"/>
              <a:t>Adjust credentials as needed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D488464-1B15-C27C-62A1-5D07824BFC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5598" y="1825625"/>
            <a:ext cx="6316402" cy="3729684"/>
          </a:xfrm>
          <a:prstGeom prst="rect">
            <a:avLst/>
          </a:prstGeom>
        </p:spPr>
      </p:pic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BC90C350-E198-209E-AC27-9EDC2ED4C87F}"/>
              </a:ext>
            </a:extLst>
          </p:cNvPr>
          <p:cNvSpPr/>
          <p:nvPr/>
        </p:nvSpPr>
        <p:spPr bwMode="auto">
          <a:xfrm>
            <a:off x="6072573" y="3101600"/>
            <a:ext cx="5437238" cy="2274048"/>
          </a:xfrm>
          <a:prstGeom prst="roundRect">
            <a:avLst/>
          </a:prstGeom>
          <a:noFill/>
          <a:ln w="19050" cap="flat" cmpd="sng" algn="ctr">
            <a:solidFill>
              <a:schemeClr val="accent3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9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05471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  <p:bldP spid="7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BF93A19-9C7B-511F-4F72-F0609D9D6B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ybrid Configuration Wizard</a:t>
            </a:r>
            <a:br>
              <a:rPr lang="en-US" dirty="0"/>
            </a:br>
            <a:endParaRPr lang="en-US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D1F049FB-C697-6A55-9DEE-1AD5ABA66EE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966632" cy="4351338"/>
          </a:xfrm>
        </p:spPr>
        <p:txBody>
          <a:bodyPr>
            <a:normAutofit/>
          </a:bodyPr>
          <a:lstStyle/>
          <a:p>
            <a:r>
              <a:rPr lang="en-US" sz="2400" dirty="0"/>
              <a:t>HCW connects to on-premises Exchange and Exchange Online to gather the current organizational configuration</a:t>
            </a:r>
          </a:p>
          <a:p>
            <a:pPr lvl="1"/>
            <a:r>
              <a:rPr lang="en-US" sz="1800" dirty="0"/>
              <a:t>Adjust credentials as needed</a:t>
            </a:r>
          </a:p>
          <a:p>
            <a:endParaRPr lang="en-US" sz="2400" dirty="0"/>
          </a:p>
          <a:p>
            <a:pPr marL="0" indent="0">
              <a:buNone/>
            </a:pPr>
            <a:r>
              <a:rPr lang="en-US" sz="2400" dirty="0">
                <a:sym typeface="Wingdings" panose="05000000000000000000" pitchFamily="2" charset="2"/>
              </a:rPr>
              <a:t></a:t>
            </a:r>
            <a:r>
              <a:rPr lang="en-US" sz="2400" dirty="0"/>
              <a:t>Check, if WinRM allows Basic Authenticatio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D488464-1B15-C27C-62A1-5D07824BFC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5598" y="1825625"/>
            <a:ext cx="6316402" cy="3729684"/>
          </a:xfrm>
          <a:prstGeom prst="rect">
            <a:avLst/>
          </a:prstGeom>
        </p:spPr>
      </p:pic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BC90C350-E198-209E-AC27-9EDC2ED4C87F}"/>
              </a:ext>
            </a:extLst>
          </p:cNvPr>
          <p:cNvSpPr/>
          <p:nvPr/>
        </p:nvSpPr>
        <p:spPr bwMode="auto">
          <a:xfrm>
            <a:off x="6072573" y="3101600"/>
            <a:ext cx="5437238" cy="2274048"/>
          </a:xfrm>
          <a:prstGeom prst="roundRect">
            <a:avLst/>
          </a:prstGeom>
          <a:noFill/>
          <a:ln w="19050" cap="flat" cmpd="sng" algn="ctr">
            <a:solidFill>
              <a:schemeClr val="accent3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9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20BFBB7-4B09-AD18-22DC-F9E9D59DA6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58666" y="3041067"/>
            <a:ext cx="6333334" cy="3754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1507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BF93A19-9C7B-511F-4F72-F0609D9D6B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ybrid Configuration Wizard</a:t>
            </a:r>
            <a:br>
              <a:rPr lang="en-US" dirty="0"/>
            </a:br>
            <a:endParaRPr lang="en-US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D1F049FB-C697-6A55-9DEE-1AD5ABA66EE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966632" cy="4351338"/>
          </a:xfrm>
        </p:spPr>
        <p:txBody>
          <a:bodyPr>
            <a:normAutofit/>
          </a:bodyPr>
          <a:lstStyle/>
          <a:p>
            <a:r>
              <a:rPr lang="en-US" sz="2400" dirty="0"/>
              <a:t>Select hybrid features to configure</a:t>
            </a:r>
          </a:p>
          <a:p>
            <a:pPr lvl="1"/>
            <a:r>
              <a:rPr lang="en-US" sz="1800" dirty="0"/>
              <a:t>Minimal Hybrid</a:t>
            </a:r>
          </a:p>
          <a:p>
            <a:pPr lvl="1"/>
            <a:r>
              <a:rPr lang="en-US" sz="1800" dirty="0"/>
              <a:t>Full Hybrid</a:t>
            </a:r>
          </a:p>
          <a:p>
            <a:r>
              <a:rPr lang="en-US" sz="2400" dirty="0"/>
              <a:t>Enable Organization Configuration Transfer</a:t>
            </a:r>
          </a:p>
          <a:p>
            <a:pPr lvl="1"/>
            <a:r>
              <a:rPr lang="en-US" sz="1800" dirty="0"/>
              <a:t>One-time transfer of selected configuration objects</a:t>
            </a:r>
          </a:p>
          <a:p>
            <a:pPr lvl="1"/>
            <a:r>
              <a:rPr lang="en-US" sz="1800" dirty="0"/>
              <a:t>Available objects depend on the on-premises Exchange Server versio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2338BC76-A686-3D76-68C1-9283F8E0CD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62898" y="1690688"/>
            <a:ext cx="6329102" cy="4562981"/>
          </a:xfrm>
          <a:prstGeom prst="rect">
            <a:avLst/>
          </a:prstGeom>
        </p:spPr>
      </p:pic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D906927D-DFBB-59C6-ECD8-680F00C4426D}"/>
              </a:ext>
            </a:extLst>
          </p:cNvPr>
          <p:cNvSpPr/>
          <p:nvPr/>
        </p:nvSpPr>
        <p:spPr bwMode="auto">
          <a:xfrm>
            <a:off x="6117708" y="3241184"/>
            <a:ext cx="5161935" cy="1377191"/>
          </a:xfrm>
          <a:prstGeom prst="roundRect">
            <a:avLst/>
          </a:prstGeom>
          <a:noFill/>
          <a:ln w="19050" cap="flat" cmpd="sng" algn="ctr">
            <a:solidFill>
              <a:schemeClr val="accent3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9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0D918BC1-BBDB-FECD-D21B-E881C10D47A7}"/>
              </a:ext>
            </a:extLst>
          </p:cNvPr>
          <p:cNvSpPr/>
          <p:nvPr/>
        </p:nvSpPr>
        <p:spPr bwMode="auto">
          <a:xfrm>
            <a:off x="6117707" y="4697768"/>
            <a:ext cx="5161935" cy="1455312"/>
          </a:xfrm>
          <a:prstGeom prst="roundRect">
            <a:avLst/>
          </a:prstGeom>
          <a:noFill/>
          <a:ln w="19050" cap="flat" cmpd="sng" algn="ctr">
            <a:solidFill>
              <a:schemeClr val="accent3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9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E3DC29C-3F99-C73D-51FD-000F8A94C6D9}"/>
              </a:ext>
            </a:extLst>
          </p:cNvPr>
          <p:cNvSpPr txBox="1"/>
          <p:nvPr/>
        </p:nvSpPr>
        <p:spPr>
          <a:xfrm>
            <a:off x="163887" y="6492875"/>
            <a:ext cx="751285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200" dirty="0">
                <a:hlinkClick r:id="rId4"/>
              </a:rPr>
              <a:t>Hybrid </a:t>
            </a:r>
            <a:r>
              <a:rPr lang="de-DE" sz="1200" dirty="0" err="1">
                <a:hlinkClick r:id="rId4"/>
              </a:rPr>
              <a:t>Organization</a:t>
            </a:r>
            <a:r>
              <a:rPr lang="de-DE" sz="1200" dirty="0">
                <a:hlinkClick r:id="rId4"/>
              </a:rPr>
              <a:t> </a:t>
            </a:r>
            <a:r>
              <a:rPr lang="de-DE" sz="1200" dirty="0" err="1">
                <a:hlinkClick r:id="rId4"/>
              </a:rPr>
              <a:t>Configuration</a:t>
            </a:r>
            <a:r>
              <a:rPr lang="de-DE" sz="1200" dirty="0">
                <a:hlinkClick r:id="rId4"/>
              </a:rPr>
              <a:t> Transfer Documentation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10181840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  <p:bldP spid="7" grpId="0" animBg="1"/>
      <p:bldP spid="8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BF93A19-9C7B-511F-4F72-F0609D9D6B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ybrid Configuration Wizard</a:t>
            </a:r>
            <a:br>
              <a:rPr lang="en-US" dirty="0"/>
            </a:br>
            <a:endParaRPr lang="en-US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D1F049FB-C697-6A55-9DEE-1AD5ABA66EE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966632" cy="4351338"/>
          </a:xfrm>
        </p:spPr>
        <p:txBody>
          <a:bodyPr>
            <a:normAutofit/>
          </a:bodyPr>
          <a:lstStyle/>
          <a:p>
            <a:r>
              <a:rPr lang="en-US" sz="2400" dirty="0"/>
              <a:t>Select Hybrid Topology</a:t>
            </a:r>
          </a:p>
          <a:p>
            <a:pPr lvl="1"/>
            <a:r>
              <a:rPr lang="en-US" sz="1800" dirty="0"/>
              <a:t>Exchange Classic Hybrid</a:t>
            </a:r>
          </a:p>
          <a:p>
            <a:pPr lvl="1"/>
            <a:r>
              <a:rPr lang="en-US" sz="1800" dirty="0"/>
              <a:t>Exchange Modern Hybrid</a:t>
            </a:r>
          </a:p>
          <a:p>
            <a:r>
              <a:rPr lang="en-US" sz="2400" dirty="0"/>
              <a:t>Modern Hybrid uses the Modern Hybrid Agent</a:t>
            </a:r>
          </a:p>
          <a:p>
            <a:pPr lvl="1"/>
            <a:r>
              <a:rPr lang="en-US" sz="1800" dirty="0"/>
              <a:t>Azure Application Proxy-style component using HTTPS outbound connectivity only</a:t>
            </a:r>
          </a:p>
          <a:p>
            <a:r>
              <a:rPr lang="en-US" sz="2400" dirty="0"/>
              <a:t>Automatic download and installation </a:t>
            </a:r>
          </a:p>
          <a:p>
            <a:pPr lvl="1"/>
            <a:r>
              <a:rPr lang="en-US" sz="1800" dirty="0"/>
              <a:t>Hybrid Updater</a:t>
            </a:r>
          </a:p>
          <a:p>
            <a:pPr lvl="1"/>
            <a:r>
              <a:rPr lang="en-US" sz="1800" dirty="0"/>
              <a:t>Hybrid Agent </a:t>
            </a:r>
          </a:p>
          <a:p>
            <a:r>
              <a:rPr lang="en-US" sz="2400" dirty="0"/>
              <a:t>HCW uninstalls and unregisters the Modern Hybrid Agent when switching from Modern Hybrid</a:t>
            </a:r>
          </a:p>
          <a:p>
            <a:endParaRPr lang="en-US" sz="2400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172B1B00-A068-194F-3CF4-EAF5DA0AB1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8666" y="1690688"/>
            <a:ext cx="6333334" cy="3175714"/>
          </a:xfrm>
          <a:prstGeom prst="rect">
            <a:avLst/>
          </a:prstGeom>
        </p:spPr>
      </p:pic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9EAE9B5A-7E39-25B7-7B7A-6E28B9A424F0}"/>
              </a:ext>
            </a:extLst>
          </p:cNvPr>
          <p:cNvSpPr/>
          <p:nvPr/>
        </p:nvSpPr>
        <p:spPr bwMode="auto">
          <a:xfrm>
            <a:off x="6100060" y="3278545"/>
            <a:ext cx="4434349" cy="1485347"/>
          </a:xfrm>
          <a:prstGeom prst="roundRect">
            <a:avLst/>
          </a:prstGeom>
          <a:noFill/>
          <a:ln w="19050" cap="flat" cmpd="sng" algn="ctr">
            <a:solidFill>
              <a:schemeClr val="accent3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9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692604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  <p:bldP spid="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62A795-AAF1-319D-DC9F-6228E231F2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do we talk about </a:t>
            </a:r>
            <a:br>
              <a:rPr lang="en-US" dirty="0"/>
            </a:br>
            <a:r>
              <a:rPr lang="en-US" dirty="0"/>
              <a:t>Exchange Hybrid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87C40D-FB3A-794D-722F-A25C53C119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332792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BF93A19-9C7B-511F-4F72-F0609D9D6B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ybrid Configuration Wizard</a:t>
            </a:r>
            <a:br>
              <a:rPr lang="en-US" dirty="0"/>
            </a:br>
            <a:endParaRPr lang="en-US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D1F049FB-C697-6A55-9DEE-1AD5ABA66EE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966632" cy="4351338"/>
          </a:xfrm>
        </p:spPr>
        <p:txBody>
          <a:bodyPr>
            <a:normAutofit/>
          </a:bodyPr>
          <a:lstStyle/>
          <a:p>
            <a:r>
              <a:rPr lang="en-US" sz="2400" dirty="0"/>
              <a:t>Configure hybrid mail flow</a:t>
            </a:r>
          </a:p>
          <a:p>
            <a:pPr lvl="1"/>
            <a:r>
              <a:rPr lang="en-US" sz="1800" dirty="0"/>
              <a:t>Direct to/from internal Exchange Servers</a:t>
            </a:r>
          </a:p>
          <a:p>
            <a:pPr lvl="1"/>
            <a:r>
              <a:rPr lang="en-US" sz="1800" dirty="0"/>
              <a:t>Via Edge Transport Servers in perimeter network, already subscribed to Active Directory site</a:t>
            </a:r>
          </a:p>
          <a:p>
            <a:endParaRPr lang="en-US" sz="2400" dirty="0"/>
          </a:p>
          <a:p>
            <a:r>
              <a:rPr lang="en-US" sz="2400" dirty="0"/>
              <a:t>Centralized mail flow</a:t>
            </a:r>
          </a:p>
          <a:p>
            <a:pPr lvl="1"/>
            <a:r>
              <a:rPr lang="en-US" sz="1800" dirty="0"/>
              <a:t>Route all mail flow to/from Exchange Online mailboxes via on-premises Exchange Organization</a:t>
            </a:r>
          </a:p>
          <a:p>
            <a:endParaRPr lang="en-US" sz="2400" dirty="0"/>
          </a:p>
          <a:p>
            <a:endParaRPr lang="en-US" sz="2400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ED018FEC-2CF3-6DC4-EF4B-830BDE63B1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62898" y="1690688"/>
            <a:ext cx="6329102" cy="2544877"/>
          </a:xfrm>
          <a:prstGeom prst="rect">
            <a:avLst/>
          </a:prstGeom>
        </p:spPr>
      </p:pic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83B22DFE-E7E9-93EA-1AAF-84AF79B8CEA6}"/>
              </a:ext>
            </a:extLst>
          </p:cNvPr>
          <p:cNvSpPr/>
          <p:nvPr/>
        </p:nvSpPr>
        <p:spPr bwMode="auto">
          <a:xfrm>
            <a:off x="6038873" y="3552076"/>
            <a:ext cx="744235" cy="287241"/>
          </a:xfrm>
          <a:prstGeom prst="roundRect">
            <a:avLst/>
          </a:prstGeom>
          <a:noFill/>
          <a:ln w="19050" cap="flat" cmpd="sng" algn="ctr">
            <a:solidFill>
              <a:schemeClr val="accent3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9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E8EC2222-C4E1-2CCB-6E33-12DF43168C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62898" y="3552076"/>
            <a:ext cx="6329102" cy="3291133"/>
          </a:xfrm>
          <a:prstGeom prst="rect">
            <a:avLst/>
          </a:prstGeom>
        </p:spPr>
      </p:pic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5EC33310-F156-B57A-C2DD-1BBB59AFE3BA}"/>
              </a:ext>
            </a:extLst>
          </p:cNvPr>
          <p:cNvSpPr/>
          <p:nvPr/>
        </p:nvSpPr>
        <p:spPr bwMode="auto">
          <a:xfrm>
            <a:off x="6038873" y="6381672"/>
            <a:ext cx="1928789" cy="348041"/>
          </a:xfrm>
          <a:prstGeom prst="roundRect">
            <a:avLst/>
          </a:prstGeom>
          <a:noFill/>
          <a:ln w="19050" cap="flat" cmpd="sng" algn="ctr">
            <a:solidFill>
              <a:schemeClr val="accent3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9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657266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  <p:bldP spid="7" grpId="0" animBg="1"/>
      <p:bldP spid="9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BF93A19-9C7B-511F-4F72-F0609D9D6B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ybrid Configuration Wizard</a:t>
            </a:r>
            <a:br>
              <a:rPr lang="en-US" dirty="0"/>
            </a:br>
            <a:endParaRPr lang="en-US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D1F049FB-C697-6A55-9DEE-1AD5ABA66EE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966632" cy="4351338"/>
          </a:xfrm>
        </p:spPr>
        <p:txBody>
          <a:bodyPr>
            <a:normAutofit/>
          </a:bodyPr>
          <a:lstStyle/>
          <a:p>
            <a:r>
              <a:rPr lang="en-US" sz="2400" dirty="0"/>
              <a:t>Select the Exchange server used for receiving email messages from Exchange Online</a:t>
            </a:r>
          </a:p>
          <a:p>
            <a:pPr lvl="1"/>
            <a:r>
              <a:rPr lang="en-US" sz="1800" dirty="0"/>
              <a:t>Select the Exchange Server published to the Internet</a:t>
            </a:r>
          </a:p>
          <a:p>
            <a:pPr lvl="1"/>
            <a:r>
              <a:rPr lang="en-US" sz="1800" dirty="0"/>
              <a:t>HCW configures the default frontend receive connector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6A16326-149B-2493-0F63-DE1F27608B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8666" y="1690688"/>
            <a:ext cx="6333334" cy="4514762"/>
          </a:xfrm>
          <a:prstGeom prst="rect">
            <a:avLst/>
          </a:prstGeom>
        </p:spPr>
      </p:pic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88957CA5-E2A5-7A04-5927-BE5A682AB292}"/>
              </a:ext>
            </a:extLst>
          </p:cNvPr>
          <p:cNvSpPr/>
          <p:nvPr/>
        </p:nvSpPr>
        <p:spPr bwMode="auto">
          <a:xfrm>
            <a:off x="6005350" y="3440318"/>
            <a:ext cx="5319252" cy="1002890"/>
          </a:xfrm>
          <a:prstGeom prst="roundRect">
            <a:avLst/>
          </a:prstGeom>
          <a:noFill/>
          <a:ln w="19050" cap="flat" cmpd="sng" algn="ctr">
            <a:solidFill>
              <a:schemeClr val="accent3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9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438679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  <p:bldP spid="7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BF93A19-9C7B-511F-4F72-F0609D9D6B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ybrid Configuration Wizard</a:t>
            </a:r>
            <a:br>
              <a:rPr lang="en-US" dirty="0"/>
            </a:br>
            <a:endParaRPr lang="en-US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D1F049FB-C697-6A55-9DEE-1AD5ABA66EE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966632" cy="4351338"/>
          </a:xfrm>
        </p:spPr>
        <p:txBody>
          <a:bodyPr>
            <a:normAutofit/>
          </a:bodyPr>
          <a:lstStyle/>
          <a:p>
            <a:r>
              <a:rPr lang="en-US" sz="2400" dirty="0"/>
              <a:t>HCW might select the wrong receive connector</a:t>
            </a:r>
          </a:p>
          <a:p>
            <a:pPr lvl="1"/>
            <a:r>
              <a:rPr lang="en-US" sz="1800" dirty="0"/>
              <a:t>You use additional receive connectors with a remote IP address range 0.0.0.0 – 255.255.255.255</a:t>
            </a:r>
          </a:p>
          <a:p>
            <a:pPr lvl="1"/>
            <a:r>
              <a:rPr lang="en-US" sz="1800" dirty="0"/>
              <a:t>The default frontend connector uses individual remote IP address ranges configuration</a:t>
            </a:r>
          </a:p>
          <a:p>
            <a:pPr lvl="1"/>
            <a:r>
              <a:rPr lang="en-US" sz="1800" dirty="0"/>
              <a:t>Compare </a:t>
            </a:r>
            <a:r>
              <a:rPr lang="en-US" sz="1800" i="1" dirty="0" err="1"/>
              <a:t>TlsCertificateName</a:t>
            </a:r>
            <a:r>
              <a:rPr lang="en-US" sz="1800" dirty="0"/>
              <a:t> and </a:t>
            </a:r>
            <a:r>
              <a:rPr lang="en-US" sz="1800" i="1" dirty="0" err="1"/>
              <a:t>TlsDomainCapabilities</a:t>
            </a:r>
            <a:r>
              <a:rPr lang="en-US" sz="1800" dirty="0"/>
              <a:t>	 connector properties afterwards 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6A16326-149B-2493-0F63-DE1F27608B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8666" y="1690688"/>
            <a:ext cx="6333334" cy="4514762"/>
          </a:xfrm>
          <a:prstGeom prst="rect">
            <a:avLst/>
          </a:prstGeom>
        </p:spPr>
      </p:pic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88957CA5-E2A5-7A04-5927-BE5A682AB292}"/>
              </a:ext>
            </a:extLst>
          </p:cNvPr>
          <p:cNvSpPr/>
          <p:nvPr/>
        </p:nvSpPr>
        <p:spPr bwMode="auto">
          <a:xfrm>
            <a:off x="6005350" y="3440318"/>
            <a:ext cx="5319252" cy="1002890"/>
          </a:xfrm>
          <a:prstGeom prst="roundRect">
            <a:avLst/>
          </a:prstGeom>
          <a:noFill/>
          <a:ln w="19050" cap="flat" cmpd="sng" algn="ctr">
            <a:solidFill>
              <a:schemeClr val="accent3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9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984844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BF93A19-9C7B-511F-4F72-F0609D9D6B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ybrid Configuration Wizard</a:t>
            </a:r>
            <a:br>
              <a:rPr lang="en-US" dirty="0"/>
            </a:br>
            <a:endParaRPr lang="en-US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D1F049FB-C697-6A55-9DEE-1AD5ABA66EE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966632" cy="4351338"/>
          </a:xfrm>
        </p:spPr>
        <p:txBody>
          <a:bodyPr>
            <a:normAutofit/>
          </a:bodyPr>
          <a:lstStyle/>
          <a:p>
            <a:r>
              <a:rPr lang="en-US" sz="2400" dirty="0"/>
              <a:t>Select Exchange server for sending email messages from the on-premises Exchange Organization to Exchange Online</a:t>
            </a:r>
          </a:p>
          <a:p>
            <a:pPr lvl="1"/>
            <a:r>
              <a:rPr lang="en-US" sz="1800" dirty="0"/>
              <a:t>HCW configures Send Connector</a:t>
            </a:r>
          </a:p>
          <a:p>
            <a:pPr lvl="1"/>
            <a:r>
              <a:rPr lang="en-US" sz="1800" dirty="0"/>
              <a:t>Exchange Server needs outbound connectivity to Exchange Online</a:t>
            </a:r>
          </a:p>
          <a:p>
            <a:pPr lvl="1"/>
            <a:r>
              <a:rPr lang="en-US" sz="1800" dirty="0"/>
              <a:t>EdgeSync transfers the Edge Servers’ Send Connector configuration (when using Edge Transport)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5970E5F-8137-9287-8F6B-728F90EE26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7549" y="1690688"/>
            <a:ext cx="6334451" cy="3649850"/>
          </a:xfrm>
          <a:prstGeom prst="rect">
            <a:avLst/>
          </a:prstGeom>
        </p:spPr>
      </p:pic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1A8B93FB-F90D-4785-4F4F-1632314C27C8}"/>
              </a:ext>
            </a:extLst>
          </p:cNvPr>
          <p:cNvSpPr/>
          <p:nvPr/>
        </p:nvSpPr>
        <p:spPr bwMode="auto">
          <a:xfrm>
            <a:off x="6033497" y="3267823"/>
            <a:ext cx="5319252" cy="1002890"/>
          </a:xfrm>
          <a:prstGeom prst="roundRect">
            <a:avLst/>
          </a:prstGeom>
          <a:noFill/>
          <a:ln w="19050" cap="flat" cmpd="sng" algn="ctr">
            <a:solidFill>
              <a:schemeClr val="accent3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9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73135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  <p:bldP spid="7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BF93A19-9C7B-511F-4F72-F0609D9D6B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ybrid Configuration Wizard</a:t>
            </a:r>
            <a:br>
              <a:rPr lang="en-US" dirty="0"/>
            </a:br>
            <a:endParaRPr lang="en-US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D1F049FB-C697-6A55-9DEE-1AD5ABA66EE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966632" cy="4351338"/>
          </a:xfrm>
        </p:spPr>
        <p:txBody>
          <a:bodyPr>
            <a:normAutofit/>
          </a:bodyPr>
          <a:lstStyle/>
          <a:p>
            <a:r>
              <a:rPr lang="en-US" sz="2400" dirty="0"/>
              <a:t>Select TLS certificate to secure the trusted mail flow between on-premises Exchange and Exchange Online</a:t>
            </a:r>
          </a:p>
          <a:p>
            <a:endParaRPr lang="en-US" sz="2400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ED3856D2-8CAB-4660-AE5E-A408DD6E40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6816" y="1690688"/>
            <a:ext cx="6315184" cy="2393755"/>
          </a:xfrm>
          <a:prstGeom prst="rect">
            <a:avLst/>
          </a:prstGeom>
        </p:spPr>
      </p:pic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846BC6BA-A48D-70A3-21E0-E0B0472944D7}"/>
              </a:ext>
            </a:extLst>
          </p:cNvPr>
          <p:cNvSpPr/>
          <p:nvPr/>
        </p:nvSpPr>
        <p:spPr bwMode="auto">
          <a:xfrm>
            <a:off x="6029051" y="3081553"/>
            <a:ext cx="5319252" cy="899042"/>
          </a:xfrm>
          <a:prstGeom prst="roundRect">
            <a:avLst/>
          </a:prstGeom>
          <a:noFill/>
          <a:ln w="19050" cap="flat" cmpd="sng" algn="ctr">
            <a:solidFill>
              <a:schemeClr val="accent3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200" kern="0" dirty="0">
              <a:solidFill>
                <a:srgbClr val="FFFFFF"/>
              </a:solidFill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316008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  <p:bldP spid="7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BF93A19-9C7B-511F-4F72-F0609D9D6B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ybrid Configuration Wizard</a:t>
            </a:r>
            <a:br>
              <a:rPr lang="en-US" dirty="0"/>
            </a:br>
            <a:endParaRPr lang="en-US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D1F049FB-C697-6A55-9DEE-1AD5ABA66EE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966632" cy="4351338"/>
          </a:xfrm>
        </p:spPr>
        <p:txBody>
          <a:bodyPr>
            <a:normAutofit/>
          </a:bodyPr>
          <a:lstStyle/>
          <a:p>
            <a:r>
              <a:rPr lang="en-US" sz="2400" dirty="0"/>
              <a:t>With Edge Transport</a:t>
            </a:r>
          </a:p>
          <a:p>
            <a:pPr lvl="1"/>
            <a:r>
              <a:rPr lang="en-US" sz="1800" dirty="0"/>
              <a:t>Ensure that the dedicated TLS certificate is installed in the certificate store of one of the internal Exchange servers</a:t>
            </a:r>
          </a:p>
          <a:p>
            <a:pPr lvl="1"/>
            <a:r>
              <a:rPr lang="en-US" sz="1800" dirty="0"/>
              <a:t>Import the TLS certificate prior to executing HCW into the local Exchange Server certificate store </a:t>
            </a:r>
          </a:p>
          <a:p>
            <a:pPr lvl="1"/>
            <a:r>
              <a:rPr lang="en-US" sz="1800" dirty="0"/>
              <a:t>Do NOT enable the TLS certificate for any Exchange service</a:t>
            </a:r>
          </a:p>
          <a:p>
            <a:pPr lvl="1"/>
            <a:r>
              <a:rPr lang="en-US" sz="1800" dirty="0"/>
              <a:t>Avoid using NAT between Edge Transport Servers and internal Exchange servers</a:t>
            </a:r>
          </a:p>
          <a:p>
            <a:pPr lvl="1"/>
            <a:r>
              <a:rPr lang="en-US" sz="1800" dirty="0"/>
              <a:t>Do NOT use TLS intercepting SMTP proxy servers</a:t>
            </a:r>
          </a:p>
          <a:p>
            <a:endParaRPr lang="en-US" sz="2400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ED3856D2-8CAB-4660-AE5E-A408DD6E40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6816" y="1690688"/>
            <a:ext cx="6315184" cy="2393755"/>
          </a:xfrm>
          <a:prstGeom prst="rect">
            <a:avLst/>
          </a:prstGeom>
        </p:spPr>
      </p:pic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846BC6BA-A48D-70A3-21E0-E0B0472944D7}"/>
              </a:ext>
            </a:extLst>
          </p:cNvPr>
          <p:cNvSpPr/>
          <p:nvPr/>
        </p:nvSpPr>
        <p:spPr bwMode="auto">
          <a:xfrm>
            <a:off x="6029051" y="3081553"/>
            <a:ext cx="5319252" cy="899042"/>
          </a:xfrm>
          <a:prstGeom prst="roundRect">
            <a:avLst/>
          </a:prstGeom>
          <a:noFill/>
          <a:ln w="19050" cap="flat" cmpd="sng" algn="ctr">
            <a:solidFill>
              <a:schemeClr val="accent3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200" kern="0" dirty="0">
              <a:solidFill>
                <a:srgbClr val="FFFFFF"/>
              </a:solidFill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39742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  <p:bldP spid="7" grpId="0" animBg="1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BF93A19-9C7B-511F-4F72-F0609D9D6B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ybrid Configuration Wizard</a:t>
            </a:r>
            <a:br>
              <a:rPr lang="en-US" dirty="0"/>
            </a:br>
            <a:endParaRPr lang="en-US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D1F049FB-C697-6A55-9DEE-1AD5ABA66EE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966632" cy="4351338"/>
          </a:xfrm>
        </p:spPr>
        <p:txBody>
          <a:bodyPr>
            <a:normAutofit/>
          </a:bodyPr>
          <a:lstStyle/>
          <a:p>
            <a:r>
              <a:rPr lang="en-US" sz="2400" dirty="0"/>
              <a:t>Enter the external FQDN of the Exchange Organization for inbound SMTP</a:t>
            </a:r>
          </a:p>
          <a:p>
            <a:pPr lvl="1"/>
            <a:r>
              <a:rPr lang="en-US" sz="1800" dirty="0"/>
              <a:t>Hostname</a:t>
            </a:r>
            <a:r>
              <a:rPr lang="en-US" sz="2000" dirty="0"/>
              <a:t> should match TLS certificate</a:t>
            </a:r>
          </a:p>
          <a:p>
            <a:r>
              <a:rPr lang="en-US" sz="2400" dirty="0"/>
              <a:t>Hybrid mail flow requires Exchange to Exchange communication</a:t>
            </a:r>
          </a:p>
          <a:p>
            <a:r>
              <a:rPr lang="en-US" sz="2400" dirty="0"/>
              <a:t>Recommendation for centralized mail flow </a:t>
            </a:r>
          </a:p>
          <a:p>
            <a:pPr lvl="1"/>
            <a:r>
              <a:rPr lang="en-US" sz="1800" dirty="0"/>
              <a:t>Use a dedicated host name, IP address, and TLS certificate</a:t>
            </a:r>
          </a:p>
          <a:p>
            <a:pPr lvl="1"/>
            <a:r>
              <a:rPr lang="en-US" sz="1800" dirty="0"/>
              <a:t>Use Edge Transport Server(s)</a:t>
            </a:r>
          </a:p>
          <a:p>
            <a:endParaRPr lang="en-US" sz="2400" dirty="0"/>
          </a:p>
          <a:p>
            <a:endParaRPr lang="en-US" sz="2400" dirty="0"/>
          </a:p>
          <a:p>
            <a:endParaRPr lang="en-US" sz="2400" dirty="0"/>
          </a:p>
          <a:p>
            <a:endParaRPr lang="en-US" sz="2400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573EAC4-5DF4-8327-3A00-6DBD083970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6816" y="1690688"/>
            <a:ext cx="6315184" cy="2417813"/>
          </a:xfrm>
          <a:prstGeom prst="rect">
            <a:avLst/>
          </a:prstGeom>
        </p:spPr>
      </p:pic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4944D63B-0565-7AD0-DA75-0717C53391C5}"/>
              </a:ext>
            </a:extLst>
          </p:cNvPr>
          <p:cNvSpPr/>
          <p:nvPr/>
        </p:nvSpPr>
        <p:spPr bwMode="auto">
          <a:xfrm>
            <a:off x="6079299" y="3658136"/>
            <a:ext cx="5206527" cy="295564"/>
          </a:xfrm>
          <a:prstGeom prst="roundRect">
            <a:avLst/>
          </a:prstGeom>
          <a:noFill/>
          <a:ln w="19050" cap="flat" cmpd="sng" algn="ctr">
            <a:solidFill>
              <a:schemeClr val="accent3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9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413241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  <p:bldP spid="7" grpId="0" animBg="1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BF93A19-9C7B-511F-4F72-F0609D9D6B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ybrid Configuration Wizard</a:t>
            </a:r>
            <a:br>
              <a:rPr lang="en-US" dirty="0"/>
            </a:br>
            <a:endParaRPr lang="en-US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D1F049FB-C697-6A55-9DEE-1AD5ABA66EE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966632" cy="4351338"/>
          </a:xfrm>
        </p:spPr>
        <p:txBody>
          <a:bodyPr>
            <a:normAutofit/>
          </a:bodyPr>
          <a:lstStyle/>
          <a:p>
            <a:r>
              <a:rPr lang="en-US" sz="2400" dirty="0"/>
              <a:t>Update and wait</a:t>
            </a:r>
          </a:p>
          <a:p>
            <a:r>
              <a:rPr lang="en-US" sz="2400" dirty="0"/>
              <a:t>If updating fails</a:t>
            </a:r>
          </a:p>
          <a:p>
            <a:pPr lvl="1"/>
            <a:r>
              <a:rPr lang="en-US" sz="1800" dirty="0"/>
              <a:t>HCW provides full log files</a:t>
            </a:r>
            <a:br>
              <a:rPr lang="en-US" sz="1800" dirty="0"/>
            </a:br>
            <a:r>
              <a:rPr lang="en-US" sz="1800" dirty="0"/>
              <a:t>%</a:t>
            </a:r>
            <a:r>
              <a:rPr lang="en-US" sz="1800" dirty="0" err="1"/>
              <a:t>appdata</a:t>
            </a:r>
            <a:r>
              <a:rPr lang="en-US" sz="1800" dirty="0"/>
              <a:t>%\Roaming\Microsoft\Exchange Hybrid Configuration</a:t>
            </a:r>
          </a:p>
          <a:p>
            <a:pPr lvl="1"/>
            <a:r>
              <a:rPr lang="en-US" sz="1800" dirty="0"/>
              <a:t>Log file contains all PowerShell configuration steps</a:t>
            </a:r>
          </a:p>
          <a:p>
            <a:pPr lvl="1"/>
            <a:r>
              <a:rPr lang="en-US" sz="1800" dirty="0"/>
              <a:t>Use Remote Connectivity Analyzer to check inbound connectivity</a:t>
            </a:r>
            <a:endParaRPr lang="en-US" sz="2000" dirty="0"/>
          </a:p>
          <a:p>
            <a:r>
              <a:rPr lang="en-US" sz="2400" dirty="0"/>
              <a:t>Issues</a:t>
            </a:r>
          </a:p>
          <a:p>
            <a:pPr lvl="1"/>
            <a:r>
              <a:rPr lang="en-US" sz="1800" dirty="0"/>
              <a:t>Remote connectivity</a:t>
            </a:r>
            <a:br>
              <a:rPr lang="en-US" sz="1800" dirty="0"/>
            </a:br>
            <a:r>
              <a:rPr lang="en-US" sz="1800" dirty="0">
                <a:sym typeface="Wingdings" panose="05000000000000000000" pitchFamily="2" charset="2"/>
              </a:rPr>
              <a:t> </a:t>
            </a:r>
            <a:r>
              <a:rPr lang="en-US" sz="1800" dirty="0"/>
              <a:t>Firewall policies, proxy servers, DNS</a:t>
            </a:r>
          </a:p>
          <a:p>
            <a:pPr lvl="1"/>
            <a:r>
              <a:rPr lang="en-US" sz="1800" dirty="0"/>
              <a:t>WinRM Windows service configuration issues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65E75B6-3154-D4C9-954A-4354FACAAD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60322" y="1690688"/>
            <a:ext cx="6331678" cy="3412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975382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73164B6E-78ED-8A49-0EE0-CC8E228545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figuring Exchange Hybrid is simple, isn't it?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FDFE7C9-522E-E445-ED84-35350F3E53B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265154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6F75EA-BA65-86B5-5F78-2146F40657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stions?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EFC0DA1-019C-82F8-1A6B-D456403B649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GlowEdges/>
                    </a14:imgEffect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2948" y="1598495"/>
            <a:ext cx="4146104" cy="3661009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21571520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51EA3F20-7D93-4417-719A-8B15E76A25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hange Certifications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814742B-E2A7-FF80-4F7B-F57A485E46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MS-203: Microsoft 365 Messaging</a:t>
            </a:r>
          </a:p>
          <a:p>
            <a:pPr lvl="1"/>
            <a:r>
              <a:rPr lang="en-US" dirty="0"/>
              <a:t>Microsoft 365 Certified: Messaging Administrator Associate</a:t>
            </a:r>
          </a:p>
          <a:p>
            <a:pPr lvl="1"/>
            <a:r>
              <a:rPr lang="en-US" dirty="0"/>
              <a:t>Microsoft 365 Certified: Enterprise Administrator Expert</a:t>
            </a:r>
          </a:p>
          <a:p>
            <a:r>
              <a:rPr lang="en-US" dirty="0"/>
              <a:t>MS-220: Troubleshooting Microsoft Exchange Online</a:t>
            </a:r>
          </a:p>
          <a:p>
            <a:pPr lvl="1"/>
            <a:r>
              <a:rPr lang="en-US" dirty="0"/>
              <a:t>Microsoft 365 Certified: Exchange Online Support Engineer Specialty</a:t>
            </a:r>
          </a:p>
        </p:txBody>
      </p:sp>
    </p:spTree>
    <p:extLst>
      <p:ext uri="{BB962C8B-B14F-4D97-AF65-F5344CB8AC3E}">
        <p14:creationId xmlns:p14="http://schemas.microsoft.com/office/powerpoint/2010/main" val="4269261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7324F01C-AB34-B9D8-6774-BA898D2292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oft Teams and </a:t>
            </a:r>
            <a:br>
              <a:rPr lang="en-US" dirty="0"/>
            </a:br>
            <a:r>
              <a:rPr lang="en-US" dirty="0"/>
              <a:t>Exchange Server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D868451-09D5-5D9A-E513-F38C401B9A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39498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14230A85-3CA9-0004-8E5B-FF7DA7BE05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oft Teams &amp; Exchange</a:t>
            </a:r>
            <a:br>
              <a:rPr lang="en-US" dirty="0"/>
            </a:br>
            <a:endParaRPr lang="en-US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B152DE3-6157-3DA2-824C-9049DABC679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Microsoft Teams Client communicates with Teams Backend-Services, not with Exchange directly</a:t>
            </a:r>
          </a:p>
          <a:p>
            <a:r>
              <a:rPr lang="en-US" dirty="0"/>
              <a:t>Microsoft Teams Backend contacts Exchange Online first</a:t>
            </a:r>
          </a:p>
          <a:p>
            <a:pPr lvl="1"/>
            <a:r>
              <a:rPr lang="en-US" dirty="0"/>
              <a:t>If user mailbox is not in Exchange Online, the Teams Backend receives an HTTP 302 redirect to on-premises</a:t>
            </a:r>
          </a:p>
          <a:p>
            <a:pPr lvl="1"/>
            <a:r>
              <a:rPr lang="en-US" dirty="0"/>
              <a:t>On-premises endpoint is always discovered using AutoDiscover v2</a:t>
            </a:r>
          </a:p>
          <a:p>
            <a:r>
              <a:rPr lang="en-US" dirty="0"/>
              <a:t>Exchange Redirect requires AAD Connect synchronization with </a:t>
            </a:r>
            <a:r>
              <a:rPr lang="en-US" b="1" dirty="0"/>
              <a:t>Exchange Hybrid </a:t>
            </a:r>
            <a:r>
              <a:rPr lang="en-US" dirty="0"/>
              <a:t>option enabled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0619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14230A85-3CA9-0004-8E5B-FF7DA7BE05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oft Teams &amp; Exchange</a:t>
            </a:r>
            <a:br>
              <a:rPr lang="en-US" dirty="0"/>
            </a:br>
            <a:endParaRPr lang="en-US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B152DE3-6157-3DA2-824C-9049DABC679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uthentication requires OAuth between Exchange Server and Exchange Online / Azure AD</a:t>
            </a:r>
          </a:p>
          <a:p>
            <a:pPr lvl="1"/>
            <a:r>
              <a:rPr lang="en-US" dirty="0"/>
              <a:t>Use Hybrid Configuration Wizard</a:t>
            </a:r>
          </a:p>
          <a:p>
            <a:endParaRPr lang="en-US" dirty="0"/>
          </a:p>
          <a:p>
            <a:r>
              <a:rPr lang="en-US" dirty="0"/>
              <a:t>Microsoft Teams Backend requires communication with AutoDiscover, EWS, and REST endpoint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568207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14230A85-3CA9-0004-8E5B-FF7DA7BE05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oft Teams &amp; Exchange</a:t>
            </a:r>
            <a:br>
              <a:rPr lang="en-US" dirty="0"/>
            </a:br>
            <a:endParaRPr lang="en-US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B152DE3-6157-3DA2-824C-9049DABC679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hen using many different SMTP domains you need a dedicated AutoDiscover v2 endpoint for each domain</a:t>
            </a:r>
          </a:p>
          <a:p>
            <a:pPr lvl="1"/>
            <a:r>
              <a:rPr lang="en-US" dirty="0"/>
              <a:t>Microsoft Teams backend services do not handle an on-premises HTTP 302 redirect correctly</a:t>
            </a:r>
          </a:p>
          <a:p>
            <a:pPr lvl="1"/>
            <a:r>
              <a:rPr lang="en-US" dirty="0"/>
              <a:t>Publish an AutoDiscover endpoint for each SMTP domain</a:t>
            </a:r>
          </a:p>
          <a:p>
            <a:pPr lvl="1"/>
            <a:r>
              <a:rPr lang="en-US" dirty="0"/>
              <a:t>Use an edge router if you cannot add all domains to a single SAN certificate, e.g., </a:t>
            </a:r>
            <a:r>
              <a:rPr lang="en-US" dirty="0" err="1"/>
              <a:t>Traeffic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85271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14230A85-3CA9-0004-8E5B-FF7DA7BE05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oft Teams &amp; Exchange</a:t>
            </a:r>
            <a:br>
              <a:rPr lang="en-US" dirty="0"/>
            </a:br>
            <a:endParaRPr lang="en-US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B152DE3-6157-3DA2-824C-9049DABC679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heck Microsoft Teams coexistence mode with Skype for Business Online </a:t>
            </a:r>
          </a:p>
          <a:p>
            <a:pPr lvl="1"/>
            <a:r>
              <a:rPr lang="en-US" dirty="0"/>
              <a:t>Only Island, Teams Only, or Skype for Business with Teams Collaboration and Meeting support the calendar tab</a:t>
            </a:r>
          </a:p>
          <a:p>
            <a:r>
              <a:rPr lang="en-US" dirty="0"/>
              <a:t>Verify that the calendar tab is enabled in Teams App Policy</a:t>
            </a:r>
          </a:p>
          <a:p>
            <a:r>
              <a:rPr lang="en-US" dirty="0"/>
              <a:t>Ensure that Exchange Hybrid is enabled in Azure AD Connect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68190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6F75EA-BA65-86B5-5F78-2146F40657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stions?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EFC0DA1-019C-82F8-1A6B-D456403B649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GlowEdges/>
                    </a14:imgEffect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2948" y="1598495"/>
            <a:ext cx="4146104" cy="3661009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327011054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17A948-9740-1BCB-7903-BCE7EACD3C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emo slid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466159-2CFF-ABA5-F980-D3ED5FE62F8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Demo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033967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EB6D87C5-78B4-CCB3-9967-390BCA83DC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137" y="167804"/>
            <a:ext cx="8793480" cy="946539"/>
          </a:xfrm>
        </p:spPr>
        <p:txBody>
          <a:bodyPr/>
          <a:lstStyle/>
          <a:p>
            <a:r>
              <a:rPr lang="en-GB" b="1" dirty="0"/>
              <a:t>Thank you </a:t>
            </a:r>
            <a:r>
              <a:rPr lang="en-GB" dirty="0"/>
              <a:t>sponsors &amp; partners!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53989943-F57F-6B97-12FA-28AAD748FF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74383" y="1025486"/>
            <a:ext cx="5643234" cy="120210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2B9CE81-DF97-F876-7C9C-998EBB6D5D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72" t="9170" r="2525" b="9195"/>
          <a:stretch/>
        </p:blipFill>
        <p:spPr>
          <a:xfrm>
            <a:off x="549987" y="2355872"/>
            <a:ext cx="4666504" cy="1150772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056B00C-F379-9C31-D48F-52BAE7CD1A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5648" y="2364213"/>
            <a:ext cx="4536365" cy="1134091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6607EA77-706E-05A1-0834-0D956E96A6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875414" y="2705575"/>
            <a:ext cx="2441172" cy="186597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1B045283-4C75-6195-36DF-D4C9242ECB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667" b="23667"/>
          <a:stretch/>
        </p:blipFill>
        <p:spPr>
          <a:xfrm>
            <a:off x="382270" y="4331430"/>
            <a:ext cx="4804252" cy="936554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9035CDB5-AF28-0AEF-0F63-B71018DC2D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830" y="4270213"/>
            <a:ext cx="4152900" cy="1058988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C76722D-836F-B943-C90E-F5EC2AEA01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59" t="22485" r="17259" b="26354"/>
          <a:stretch/>
        </p:blipFill>
        <p:spPr>
          <a:xfrm>
            <a:off x="1930366" y="5200259"/>
            <a:ext cx="3596400" cy="1499196"/>
          </a:xfrm>
          <a:prstGeom prst="rect">
            <a:avLst/>
          </a:prstGeom>
        </p:spPr>
      </p:pic>
      <p:pic>
        <p:nvPicPr>
          <p:cNvPr id="20" name="Picture 19" descr="Logo, company name&#10;&#10;Description automatically generated">
            <a:extLst>
              <a:ext uri="{FF2B5EF4-FFF2-40B4-BE49-F238E27FC236}">
                <a16:creationId xmlns:a16="http://schemas.microsoft.com/office/drawing/2014/main" id="{D479F9B8-81A3-4271-1EE4-F043C6D84D4F}"/>
              </a:ext>
            </a:extLst>
          </p:cNvPr>
          <p:cNvPicPr>
            <a:picLocks noChangeAspect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0558" y="5456830"/>
            <a:ext cx="4061116" cy="1085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7244915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3F0868-A04B-7DF5-4962-92FE28606B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omas Stensitzki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400383-F50B-D073-FEAB-F361ED84905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1825625"/>
            <a:ext cx="5961611" cy="4351338"/>
          </a:xfrm>
        </p:spPr>
        <p:txBody>
          <a:bodyPr/>
          <a:lstStyle/>
          <a:p>
            <a:pPr marL="0" lvl="0" indent="0">
              <a:buNone/>
            </a:pPr>
            <a:r>
              <a:rPr lang="en-GB" dirty="0"/>
              <a:t>MCT Regional Lead</a:t>
            </a:r>
          </a:p>
          <a:p>
            <a:pPr marL="0" lvl="0" indent="0">
              <a:buNone/>
            </a:pPr>
            <a:r>
              <a:rPr lang="en-GB" dirty="0"/>
              <a:t>MVP Microsoft 365 Apps &amp; Services</a:t>
            </a:r>
          </a:p>
          <a:p>
            <a:pPr marL="0" lvl="0" indent="0">
              <a:buNone/>
            </a:pPr>
            <a:br>
              <a:rPr lang="en-GB" dirty="0"/>
            </a:br>
            <a:br>
              <a:rPr lang="en-GB" dirty="0"/>
            </a:br>
            <a:endParaRPr lang="en-GB" dirty="0"/>
          </a:p>
          <a:p>
            <a:pPr marL="0" lvl="0" indent="0">
              <a:buNone/>
            </a:pPr>
            <a:r>
              <a:rPr lang="en-GB" dirty="0"/>
              <a:t>linktr.ee/stensitzki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09D7F2D-5075-A641-7A6F-05CF97B5B5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199" y="4460240"/>
            <a:ext cx="1851660" cy="1851660"/>
          </a:xfrm>
          <a:prstGeom prst="rect">
            <a:avLst/>
          </a:prstGeom>
        </p:spPr>
      </p:pic>
      <p:pic>
        <p:nvPicPr>
          <p:cNvPr id="9" name="Grafik 8">
            <a:hlinkClick r:id="rId3"/>
            <a:extLst>
              <a:ext uri="{FF2B5EF4-FFF2-40B4-BE49-F238E27FC236}">
                <a16:creationId xmlns:a16="http://schemas.microsoft.com/office/drawing/2014/main" id="{A993910A-2D2B-537C-592B-7A727A84291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323326" y="3174378"/>
            <a:ext cx="2121969" cy="300258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1" name="Grafik 10">
            <a:hlinkClick r:id="rId5"/>
            <a:extLst>
              <a:ext uri="{FF2B5EF4-FFF2-40B4-BE49-F238E27FC236}">
                <a16:creationId xmlns:a16="http://schemas.microsoft.com/office/drawing/2014/main" id="{3BA38FE1-DD8B-2FFD-D884-DF1CCDEE8DF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886161" y="3477166"/>
            <a:ext cx="2121969" cy="269979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2053515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083B08FF-75AA-BCC1-24BE-86E3524464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4508913-AED2-BD8A-B0AB-E490665E057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>
              <a:buClr>
                <a:schemeClr val="accent3"/>
              </a:buClr>
              <a:defRPr/>
            </a:pPr>
            <a:r>
              <a:rPr lang="en-US" sz="2000" dirty="0">
                <a:solidFill>
                  <a:srgbClr val="FFFFFF"/>
                </a:solidFill>
                <a:latin typeface="Segoe UI"/>
                <a:hlinkClick r:id="rId2"/>
              </a:rPr>
              <a:t>Exchange Server Hybrid Deployments </a:t>
            </a:r>
            <a:endParaRPr lang="en-US" sz="2000" dirty="0">
              <a:solidFill>
                <a:srgbClr val="FFFFFF"/>
              </a:solidFill>
              <a:latin typeface="Segoe UI"/>
            </a:endParaRPr>
          </a:p>
          <a:p>
            <a:pPr>
              <a:buClr>
                <a:schemeClr val="accent3"/>
              </a:buClr>
              <a:defRPr/>
            </a:pPr>
            <a:r>
              <a:rPr lang="en-US" sz="2000" dirty="0">
                <a:solidFill>
                  <a:srgbClr val="FFFFFF"/>
                </a:solidFill>
                <a:latin typeface="Segoe UI"/>
                <a:hlinkClick r:id="rId3"/>
              </a:rPr>
              <a:t>Hybrid Deployment Prerequisites</a:t>
            </a:r>
            <a:endParaRPr lang="en-US" sz="2000" dirty="0">
              <a:solidFill>
                <a:srgbClr val="FFFFFF"/>
              </a:solidFill>
              <a:latin typeface="Segoe UI"/>
            </a:endParaRPr>
          </a:p>
          <a:p>
            <a:pPr>
              <a:buClr>
                <a:schemeClr val="accent3"/>
              </a:buClr>
              <a:defRPr/>
            </a:pPr>
            <a:r>
              <a:rPr lang="en-US" sz="2000" dirty="0">
                <a:solidFill>
                  <a:srgbClr val="FFFFFF"/>
                </a:solidFill>
                <a:latin typeface="Segoe UI"/>
                <a:hlinkClick r:id="rId4"/>
              </a:rPr>
              <a:t>Hybrid Configuration Wizard FAQs </a:t>
            </a:r>
            <a:endParaRPr lang="en-US" sz="2000" dirty="0">
              <a:solidFill>
                <a:srgbClr val="FFFFFF"/>
              </a:solidFill>
              <a:latin typeface="Segoe UI"/>
            </a:endParaRPr>
          </a:p>
          <a:p>
            <a:pPr>
              <a:buClr>
                <a:schemeClr val="accent3"/>
              </a:buClr>
              <a:defRPr/>
            </a:pPr>
            <a:r>
              <a:rPr lang="en-US" sz="2000" dirty="0">
                <a:solidFill>
                  <a:srgbClr val="FFFFFF"/>
                </a:solidFill>
                <a:latin typeface="Segoe UI"/>
                <a:hlinkClick r:id="rId5"/>
              </a:rPr>
              <a:t>Configuring Teams calendar access for Exchange on-premises mailboxes </a:t>
            </a:r>
            <a:endParaRPr lang="en-US" sz="2000" dirty="0">
              <a:solidFill>
                <a:srgbClr val="FFFFFF"/>
              </a:solidFill>
              <a:latin typeface="Segoe UI"/>
            </a:endParaRPr>
          </a:p>
          <a:p>
            <a:pPr>
              <a:buClr>
                <a:schemeClr val="accent3"/>
              </a:buClr>
              <a:defRPr/>
            </a:pPr>
            <a:r>
              <a:rPr lang="en-US" sz="2000" dirty="0">
                <a:solidFill>
                  <a:srgbClr val="FFFFFF"/>
                </a:solidFill>
                <a:latin typeface="Segoe UI"/>
                <a:hlinkClick r:id="rId6"/>
              </a:rPr>
              <a:t>Configure OAuth authentication between Exchange and Exchange Online organizations</a:t>
            </a:r>
            <a:endParaRPr lang="en-US" sz="2000" dirty="0">
              <a:solidFill>
                <a:srgbClr val="FFFFFF"/>
              </a:solidFill>
              <a:latin typeface="Segoe UI"/>
            </a:endParaRPr>
          </a:p>
          <a:p>
            <a:pPr>
              <a:buClr>
                <a:schemeClr val="accent3"/>
              </a:buClr>
              <a:defRPr/>
            </a:pPr>
            <a:r>
              <a:rPr lang="en-US" sz="2000" dirty="0">
                <a:solidFill>
                  <a:srgbClr val="FFFFFF"/>
                </a:solidFill>
                <a:latin typeface="Segoe UI"/>
                <a:hlinkClick r:id="rId7"/>
              </a:rPr>
              <a:t>Demystifying and troubleshooting hybrid mail flow: when is a message internal?</a:t>
            </a:r>
            <a:endParaRPr lang="en-US" sz="2000" dirty="0">
              <a:solidFill>
                <a:srgbClr val="FFFFFF"/>
              </a:solidFill>
              <a:latin typeface="Segoe UI"/>
            </a:endParaRPr>
          </a:p>
          <a:p>
            <a:pPr>
              <a:buClr>
                <a:schemeClr val="accent3"/>
              </a:buClr>
              <a:defRPr/>
            </a:pPr>
            <a:r>
              <a:rPr lang="en-US" sz="2000" dirty="0">
                <a:solidFill>
                  <a:srgbClr val="FFFFFF"/>
                </a:solidFill>
                <a:latin typeface="Segoe UI"/>
                <a:hlinkClick r:id="rId8"/>
              </a:rPr>
              <a:t>Remote Connectivity Analyzer</a:t>
            </a:r>
            <a:endParaRPr lang="en-US" sz="2000" dirty="0">
              <a:solidFill>
                <a:srgbClr val="FFFFFF"/>
              </a:solidFill>
              <a:latin typeface="Segoe UI"/>
            </a:endParaRPr>
          </a:p>
          <a:p>
            <a:pPr>
              <a:buClr>
                <a:schemeClr val="accent3"/>
              </a:buClr>
              <a:defRPr/>
            </a:pPr>
            <a:r>
              <a:rPr lang="en-US" sz="2000" dirty="0">
                <a:solidFill>
                  <a:srgbClr val="FFFFFF"/>
                </a:solidFill>
                <a:latin typeface="Segoe UI"/>
                <a:hlinkClick r:id="rId9"/>
              </a:rPr>
              <a:t>How Exchange and Microsoft Teams interact</a:t>
            </a:r>
            <a:endParaRPr lang="en-US" sz="2000" dirty="0">
              <a:solidFill>
                <a:srgbClr val="FFFFFF"/>
              </a:solidFill>
              <a:latin typeface="Segoe UI"/>
            </a:endParaRPr>
          </a:p>
          <a:p>
            <a:pPr>
              <a:buClr>
                <a:schemeClr val="accent3"/>
              </a:buClr>
              <a:defRPr/>
            </a:pPr>
            <a:r>
              <a:rPr lang="en-US" sz="2000" dirty="0" err="1">
                <a:solidFill>
                  <a:srgbClr val="FFFFFF"/>
                </a:solidFill>
                <a:latin typeface="Segoe UI"/>
                <a:hlinkClick r:id="rId10"/>
              </a:rPr>
              <a:t>Traeffic</a:t>
            </a:r>
            <a:r>
              <a:rPr lang="en-US" sz="2000" dirty="0">
                <a:solidFill>
                  <a:srgbClr val="FFFFFF"/>
                </a:solidFill>
                <a:latin typeface="Segoe UI"/>
                <a:hlinkClick r:id="rId10"/>
              </a:rPr>
              <a:t> Edge Router</a:t>
            </a:r>
            <a:endParaRPr lang="en-US" sz="2000" dirty="0">
              <a:solidFill>
                <a:srgbClr val="FFFFFF"/>
              </a:solidFill>
              <a:latin typeface="Segoe UI"/>
            </a:endParaRPr>
          </a:p>
          <a:p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0639051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023C51-2C93-13E8-4175-9826B4C239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BBA6BAC-B45C-8391-FEBD-070DB36477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41236" y="733756"/>
            <a:ext cx="7823807" cy="570941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2D7D75EA-4AEB-9358-D665-E24FE735DCE7}"/>
              </a:ext>
            </a:extLst>
          </p:cNvPr>
          <p:cNvSpPr/>
          <p:nvPr/>
        </p:nvSpPr>
        <p:spPr bwMode="auto">
          <a:xfrm>
            <a:off x="1895302" y="2914598"/>
            <a:ext cx="2660073" cy="1191889"/>
          </a:xfrm>
          <a:prstGeom prst="roundRect">
            <a:avLst/>
          </a:prstGeom>
          <a:noFill/>
          <a:ln w="19050" cap="flat" cmpd="sng" algn="ctr">
            <a:solidFill>
              <a:schemeClr val="accent3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9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55565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C8286F9A-03BA-53DB-BFB9-673E208ACB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o teaches M365 courses?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3EE38D4-0E11-743E-1807-62DCB7E0B6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400824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F62CB6CA-4FC0-A3D9-45B6-475AED94B2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hange Training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701F0053-C3BE-17D5-750C-68E7A3093C0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xchange knowledge is vanishing </a:t>
            </a:r>
          </a:p>
          <a:p>
            <a:r>
              <a:rPr lang="en-US" dirty="0"/>
              <a:t>Exchange Hybrid is essential when not using Exchange Online as a cloud-only solution</a:t>
            </a:r>
          </a:p>
          <a:p>
            <a:r>
              <a:rPr lang="en-US" dirty="0"/>
              <a:t>Exchange Hybrid configuration is simple, but tricky at the same time</a:t>
            </a:r>
          </a:p>
          <a:p>
            <a:r>
              <a:rPr lang="en-US" dirty="0"/>
              <a:t>Fixing Exchange Hybrid misconfiguration is simple, but the results take time to get into effect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08541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C8286F9A-03BA-53DB-BFB9-673E208ACB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the SLA statement for Exchange Online?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3EE38D4-0E11-743E-1807-62DCB7E0B6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 E.g., creating a new mailbox</a:t>
            </a:r>
          </a:p>
        </p:txBody>
      </p:sp>
    </p:spTree>
    <p:extLst>
      <p:ext uri="{BB962C8B-B14F-4D97-AF65-F5344CB8AC3E}">
        <p14:creationId xmlns:p14="http://schemas.microsoft.com/office/powerpoint/2010/main" val="29162672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LANGUAGE_ID" val="1033"/>
</p:tagLst>
</file>

<file path=ppt/theme/theme1.xml><?xml version="1.0" encoding="utf-8"?>
<a:theme xmlns:a="http://schemas.openxmlformats.org/drawingml/2006/main" name="Office">
  <a:themeElements>
    <a:clrScheme name="Red">
      <a:dk1>
        <a:sysClr val="windowText" lastClr="000000"/>
      </a:dk1>
      <a:lt1>
        <a:sysClr val="window" lastClr="FFFFFF"/>
      </a:lt1>
      <a:dk2>
        <a:srgbClr val="323232"/>
      </a:dk2>
      <a:lt2>
        <a:srgbClr val="E5C243"/>
      </a:lt2>
      <a:accent1>
        <a:srgbClr val="A5300F"/>
      </a:accent1>
      <a:accent2>
        <a:srgbClr val="D55816"/>
      </a:accent2>
      <a:accent3>
        <a:srgbClr val="E19825"/>
      </a:accent3>
      <a:accent4>
        <a:srgbClr val="B19C7D"/>
      </a:accent4>
      <a:accent5>
        <a:srgbClr val="7F5F52"/>
      </a:accent5>
      <a:accent6>
        <a:srgbClr val="B27D49"/>
      </a:accent6>
      <a:hlink>
        <a:srgbClr val="6B9F25"/>
      </a:hlink>
      <a:folHlink>
        <a:srgbClr val="B26B0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CT Summit 2022 Template.potx" id="{DE85DA76-E4FD-4C83-81F7-BD323E79C9A1}" vid="{D0D9DAF1-C98A-4EDF-9EF4-98996966D3D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E2A2463FF8BE648B8AB32C92DF99437" ma:contentTypeVersion="3" ma:contentTypeDescription="Create a new document." ma:contentTypeScope="" ma:versionID="5163ae449b071b7c87c1468548a491cc">
  <xsd:schema xmlns:xsd="http://www.w3.org/2001/XMLSchema" xmlns:xs="http://www.w3.org/2001/XMLSchema" xmlns:p="http://schemas.microsoft.com/office/2006/metadata/properties" xmlns:ns2="018e2b6e-a009-4eaf-b78a-217958d5eddd" targetNamespace="http://schemas.microsoft.com/office/2006/metadata/properties" ma:root="true" ma:fieldsID="b8ec182eeed3b50d42b4b1dcc85f640e" ns2:_="">
    <xsd:import namespace="018e2b6e-a009-4eaf-b78a-217958d5edd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18e2b6e-a009-4eaf-b78a-217958d5edd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4F1F3C6-CE33-41C6-9FB4-83980637E6B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108B188-48B3-44C0-B139-32C1CFBCB380}">
  <ds:schemaRefs>
    <ds:schemaRef ds:uri="http://purl.org/dc/terms/"/>
    <ds:schemaRef ds:uri="018e2b6e-a009-4eaf-b78a-217958d5eddd"/>
    <ds:schemaRef ds:uri="http://schemas.microsoft.com/office/2006/documentManagement/types"/>
    <ds:schemaRef ds:uri="http://purl.org/dc/elements/1.1/"/>
    <ds:schemaRef ds:uri="http://www.w3.org/XML/1998/namespace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3E5C7929-57FB-4B5F-83E9-5AE54E95FBE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18e2b6e-a009-4eaf-b78a-217958d5edd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T Summit 2022 Template</Template>
  <TotalTime>0</TotalTime>
  <Words>2083</Words>
  <Application>Microsoft Office PowerPoint</Application>
  <PresentationFormat>Breitbild</PresentationFormat>
  <Paragraphs>351</Paragraphs>
  <Slides>59</Slides>
  <Notes>13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59</vt:i4>
      </vt:variant>
    </vt:vector>
  </HeadingPairs>
  <TitlesOfParts>
    <vt:vector size="65" baseType="lpstr">
      <vt:lpstr>Microsoft YaHei</vt:lpstr>
      <vt:lpstr>Arial</vt:lpstr>
      <vt:lpstr>Calibri</vt:lpstr>
      <vt:lpstr>Calibri Light</vt:lpstr>
      <vt:lpstr>Segoe UI</vt:lpstr>
      <vt:lpstr>Office</vt:lpstr>
      <vt:lpstr>Exchange Hybrid –  What, Why, and How</vt:lpstr>
      <vt:lpstr>Thomas Stensitzki</vt:lpstr>
      <vt:lpstr>Agenda</vt:lpstr>
      <vt:lpstr>Why do we talk about  Exchange Hybrid?</vt:lpstr>
      <vt:lpstr>Exchange Certifications</vt:lpstr>
      <vt:lpstr>PowerPoint-Präsentation</vt:lpstr>
      <vt:lpstr>Who teaches M365 courses?</vt:lpstr>
      <vt:lpstr>Exchange Training</vt:lpstr>
      <vt:lpstr>What is the SLA statement for Exchange Online?</vt:lpstr>
      <vt:lpstr>What is the SLA statement for Exchange Online?</vt:lpstr>
      <vt:lpstr>What is Exchange Hybrid?</vt:lpstr>
      <vt:lpstr>PowerPoint-Präsentation</vt:lpstr>
      <vt:lpstr>What is Exchange Hybrid</vt:lpstr>
      <vt:lpstr>Two Variants – Three Modes of Operation </vt:lpstr>
      <vt:lpstr>Classic Full Hybrid</vt:lpstr>
      <vt:lpstr>Classic Full Hybrid</vt:lpstr>
      <vt:lpstr>Modern Full Hybrid</vt:lpstr>
      <vt:lpstr>Modern Full Hybrid</vt:lpstr>
      <vt:lpstr>The Differences</vt:lpstr>
      <vt:lpstr>When do we call it Exchange Hybrid?</vt:lpstr>
      <vt:lpstr>When do we call it Exchange Hybrid?</vt:lpstr>
      <vt:lpstr>When do we call it Exchange Hybrid?</vt:lpstr>
      <vt:lpstr>When do we call it Exchange Hybrid?</vt:lpstr>
      <vt:lpstr>Can you think of other "hybrid" options?</vt:lpstr>
      <vt:lpstr>Questions?</vt:lpstr>
      <vt:lpstr>Why do you need Exchange Hybrid?</vt:lpstr>
      <vt:lpstr>Why Exchange Hybrid?</vt:lpstr>
      <vt:lpstr>Why Exchange Hybrid?</vt:lpstr>
      <vt:lpstr>Centralized Mail Flow</vt:lpstr>
      <vt:lpstr>Questions?</vt:lpstr>
      <vt:lpstr>How do you  implement Exchange Hybrid?</vt:lpstr>
      <vt:lpstr>Exchange Hybrid Requirements </vt:lpstr>
      <vt:lpstr>Exchange Hybrid Requirements </vt:lpstr>
      <vt:lpstr>Hybrid Configuration Wizard </vt:lpstr>
      <vt:lpstr>Hybrid Configuration Wizard </vt:lpstr>
      <vt:lpstr>Hybrid Configuration Wizard </vt:lpstr>
      <vt:lpstr>Hybrid Configuration Wizard </vt:lpstr>
      <vt:lpstr>Hybrid Configuration Wizard </vt:lpstr>
      <vt:lpstr>Hybrid Configuration Wizard </vt:lpstr>
      <vt:lpstr>Hybrid Configuration Wizard </vt:lpstr>
      <vt:lpstr>Hybrid Configuration Wizard </vt:lpstr>
      <vt:lpstr>Hybrid Configuration Wizard </vt:lpstr>
      <vt:lpstr>Hybrid Configuration Wizard </vt:lpstr>
      <vt:lpstr>Hybrid Configuration Wizard </vt:lpstr>
      <vt:lpstr>Hybrid Configuration Wizard </vt:lpstr>
      <vt:lpstr>Hybrid Configuration Wizard </vt:lpstr>
      <vt:lpstr>Hybrid Configuration Wizard </vt:lpstr>
      <vt:lpstr>Configuring Exchange Hybrid is simple, isn't it?</vt:lpstr>
      <vt:lpstr>Questions?</vt:lpstr>
      <vt:lpstr>Microsoft Teams and  Exchange Server</vt:lpstr>
      <vt:lpstr>Microsoft Teams &amp; Exchange </vt:lpstr>
      <vt:lpstr>Microsoft Teams &amp; Exchange </vt:lpstr>
      <vt:lpstr>Microsoft Teams &amp; Exchange </vt:lpstr>
      <vt:lpstr>Microsoft Teams &amp; Exchange </vt:lpstr>
      <vt:lpstr>Questions?</vt:lpstr>
      <vt:lpstr>Demo slide</vt:lpstr>
      <vt:lpstr>Thank you sponsors &amp; partners!</vt:lpstr>
      <vt:lpstr>Thomas Stensitzki</vt:lpstr>
      <vt:lpstr>Resour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change Hybrid - What, Why, and How</dc:title>
  <dc:creator>Thomas Stensitzki</dc:creator>
  <cp:lastModifiedBy>Thomas Stensitzki</cp:lastModifiedBy>
  <cp:revision>2</cp:revision>
  <dcterms:created xsi:type="dcterms:W3CDTF">2022-08-31T14:44:21Z</dcterms:created>
  <dcterms:modified xsi:type="dcterms:W3CDTF">2022-11-02T13:30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E2A2463FF8BE648B8AB32C92DF99437</vt:lpwstr>
  </property>
  <property fmtid="{D5CDD505-2E9C-101B-9397-08002B2CF9AE}" pid="3" name="MediaServiceImageTags">
    <vt:lpwstr/>
  </property>
</Properties>
</file>